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notesSlides/notesSlide18.xml" ContentType="application/vnd.openxmlformats-officedocument.presentationml.notesSlide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diagrams/layout7.xml" ContentType="application/vnd.openxmlformats-officedocument.drawingml.diagramLayout+xml"/>
  <Override PartName="/ppt/notesSlides/notesSlide16.xml" ContentType="application/vnd.openxmlformats-officedocument.presentationml.notesSlide+xml"/>
  <Override PartName="/ppt/diagrams/data8.xml" ContentType="application/vnd.openxmlformats-officedocument.drawingml.diagramData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notesSlides/notesSlide14.xml" ContentType="application/vnd.openxmlformats-officedocument.presentationml.notesSlide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colors8.xml" ContentType="application/vnd.openxmlformats-officedocument.drawingml.diagramColor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diagrams/colors6.xml" ContentType="application/vnd.openxmlformats-officedocument.drawingml.diagramColors+xml"/>
  <Override PartName="/ppt/notesSlides/notesSlide10.xml" ContentType="application/vnd.openxmlformats-officedocument.presentationml.notesSlide+xml"/>
  <Override PartName="/ppt/diagrams/drawing7.xml" ContentType="application/vnd.ms-office.drawingml.diagramDrawing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5.xml" ContentType="application/vnd.ms-office.drawingml.diagramDrawing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notesSlides/notesSlide17.xml" ContentType="application/vnd.openxmlformats-officedocument.presentationml.notesSlide+xml"/>
  <Override PartName="/ppt/diagrams/layout8.xml" ContentType="application/vnd.openxmlformats-officedocument.drawingml.diagram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diagrams/layout6.xml" ContentType="application/vnd.openxmlformats-officedocument.drawingml.diagramLayout+xml"/>
  <Override PartName="/ppt/notesSlides/notesSlide15.xml" ContentType="application/vnd.openxmlformats-officedocument.presentationml.notesSlide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notesSlides/notesSlide8.xml" ContentType="application/vnd.openxmlformats-officedocument.presentationml.notesSlide+xml"/>
  <Override PartName="/ppt/diagrams/colors7.xml" ContentType="application/vnd.openxmlformats-officedocument.drawingml.diagramColors+xml"/>
  <Override PartName="/ppt/notesSlides/notesSlide11.xml" ContentType="application/vnd.openxmlformats-officedocument.presentationml.notesSlide+xml"/>
  <Override PartName="/ppt/diagrams/drawing8.xml" ContentType="application/vnd.ms-office.drawingml.diagramDrawing+xml"/>
  <Override PartName="/ppt/diagrams/data3.xml" ContentType="application/vnd.openxmlformats-officedocument.drawingml.diagramData+xml"/>
  <Override PartName="/ppt/notesSlides/notesSlide6.xml" ContentType="application/vnd.openxmlformats-officedocument.presentationml.notesSlide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diagrams/drawing4.xml" ContentType="application/vnd.ms-office.drawingml.diagramDrawing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7" r:id="rId2"/>
    <p:sldId id="264" r:id="rId3"/>
    <p:sldId id="309" r:id="rId4"/>
    <p:sldId id="313" r:id="rId5"/>
    <p:sldId id="317" r:id="rId6"/>
    <p:sldId id="321" r:id="rId7"/>
    <p:sldId id="315" r:id="rId8"/>
    <p:sldId id="314" r:id="rId9"/>
    <p:sldId id="319" r:id="rId10"/>
    <p:sldId id="320" r:id="rId11"/>
    <p:sldId id="322" r:id="rId12"/>
    <p:sldId id="325" r:id="rId13"/>
    <p:sldId id="329" r:id="rId14"/>
    <p:sldId id="323" r:id="rId15"/>
    <p:sldId id="326" r:id="rId16"/>
    <p:sldId id="324" r:id="rId17"/>
    <p:sldId id="328" r:id="rId18"/>
    <p:sldId id="312" r:id="rId19"/>
  </p:sldIdLst>
  <p:sldSz cx="9144000" cy="6858000" type="screen4x3"/>
  <p:notesSz cx="6797675" cy="992663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99"/>
    <a:srgbClr val="006699"/>
    <a:srgbClr val="3366CC"/>
    <a:srgbClr val="0099CC"/>
    <a:srgbClr val="008000"/>
    <a:srgbClr val="009900"/>
    <a:srgbClr val="C0C0C0"/>
    <a:srgbClr val="969696"/>
    <a:srgbClr val="777777"/>
    <a:srgbClr val="3333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34587" autoAdjust="0"/>
    <p:restoredTop sz="91597" autoAdjust="0"/>
  </p:normalViewPr>
  <p:slideViewPr>
    <p:cSldViewPr>
      <p:cViewPr varScale="1">
        <p:scale>
          <a:sx n="72" d="100"/>
          <a:sy n="72" d="100"/>
        </p:scale>
        <p:origin x="-834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5" d="100"/>
          <a:sy n="75" d="100"/>
        </p:scale>
        <p:origin x="-4020" y="-84"/>
      </p:cViewPr>
      <p:guideLst>
        <p:guide orient="horz" pos="3126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AB3719C-8C98-4EFD-B282-18CE8BF3D665}" type="doc">
      <dgm:prSet loTypeId="urn:microsoft.com/office/officeart/2008/layout/RadialCluster" loCatId="relationship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2F4091A-FC77-4B8F-9A9E-5F41E1B3D153}">
      <dgm:prSet phldrT="[Текст]" custT="1"/>
      <dgm:spPr/>
      <dgm:t>
        <a:bodyPr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r>
            <a:rPr lang="ru-RU" altLang="ru-RU" sz="1900" b="1" cap="all" spc="0" dirty="0" smtClean="0">
              <a:ln/>
              <a:solidFill>
                <a:schemeClr val="bg1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  <a:latin typeface="Book Antiqua" panose="02040602050305030304" pitchFamily="18" charset="0"/>
            </a:rPr>
            <a:t>17 Соглашений</a:t>
          </a:r>
          <a:endParaRPr lang="ru-RU" sz="1900" b="1" cap="all" spc="0" dirty="0">
            <a:ln/>
            <a:solidFill>
              <a:schemeClr val="bg1"/>
            </a:solidFill>
            <a:effectLst>
              <a:outerShdw blurRad="19685" dist="12700" dir="5400000" algn="tl" rotWithShape="0">
                <a:schemeClr val="accent1">
                  <a:satMod val="130000"/>
                  <a:alpha val="60000"/>
                </a:schemeClr>
              </a:outerShdw>
              <a:reflection blurRad="10000" stA="55000" endPos="48000" dist="500" dir="5400000" sy="-100000" algn="bl" rotWithShape="0"/>
            </a:effectLst>
            <a:latin typeface="Book Antiqua" panose="02040602050305030304" pitchFamily="18" charset="0"/>
          </a:endParaRPr>
        </a:p>
      </dgm:t>
    </dgm:pt>
    <dgm:pt modelId="{751CCE36-863D-4372-B1E1-25A0DA8304C2}" type="parTrans" cxnId="{E66A5738-05B7-455D-96DE-092F3D0DE461}">
      <dgm:prSet/>
      <dgm:spPr/>
      <dgm:t>
        <a:bodyPr/>
        <a:lstStyle/>
        <a:p>
          <a:endParaRPr lang="ru-RU"/>
        </a:p>
      </dgm:t>
    </dgm:pt>
    <dgm:pt modelId="{41CD2350-EF08-49B0-B30B-2243BC640DF4}" type="sibTrans" cxnId="{E66A5738-05B7-455D-96DE-092F3D0DE461}">
      <dgm:prSet/>
      <dgm:spPr/>
      <dgm:t>
        <a:bodyPr/>
        <a:lstStyle/>
        <a:p>
          <a:endParaRPr lang="ru-RU"/>
        </a:p>
      </dgm:t>
    </dgm:pt>
    <dgm:pt modelId="{816CA91F-CB16-4FA9-9248-82AED63A7A17}">
      <dgm:prSet phldrT="[Текст]"/>
      <dgm:spPr>
        <a:gradFill flip="none" rotWithShape="1">
          <a:gsLst>
            <a:gs pos="22000">
              <a:srgbClr val="0099CC"/>
            </a:gs>
            <a:gs pos="73000">
              <a:srgbClr val="0099CC"/>
            </a:gs>
          </a:gsLst>
          <a:path path="shape">
            <a:fillToRect l="50000" t="50000" r="50000" b="50000"/>
          </a:path>
          <a:tileRect/>
        </a:gradFill>
      </dgm:spPr>
      <dgm:t>
        <a:bodyPr/>
        <a:lstStyle/>
        <a:p>
          <a:r>
            <a:rPr lang="ru-RU" dirty="0" smtClean="0">
              <a:solidFill>
                <a:schemeClr val="bg1"/>
              </a:solidFill>
              <a:latin typeface="Book Antiqua" panose="02040602050305030304" pitchFamily="18" charset="0"/>
            </a:rPr>
            <a:t>О торговле услугами и инвестициях в государствах-членах ЕЭП (Приложение 5 «Фин. услуги»</a:t>
          </a:r>
          <a:r>
            <a:rPr lang="en-US" dirty="0" smtClean="0">
              <a:solidFill>
                <a:schemeClr val="bg1"/>
              </a:solidFill>
              <a:latin typeface="Book Antiqua" panose="02040602050305030304" pitchFamily="18" charset="0"/>
            </a:rPr>
            <a:t>)</a:t>
          </a:r>
          <a:endParaRPr lang="ru-RU" dirty="0">
            <a:solidFill>
              <a:schemeClr val="bg1"/>
            </a:solidFill>
            <a:latin typeface="Book Antiqua" panose="02040602050305030304" pitchFamily="18" charset="0"/>
          </a:endParaRPr>
        </a:p>
      </dgm:t>
    </dgm:pt>
    <dgm:pt modelId="{DCA5786D-B105-47F2-9823-DDE31EE72961}" type="parTrans" cxnId="{5D43E8CC-B3F4-477F-8089-A188E4978959}">
      <dgm:prSet/>
      <dgm:spPr/>
      <dgm:t>
        <a:bodyPr/>
        <a:lstStyle/>
        <a:p>
          <a:endParaRPr lang="ru-RU"/>
        </a:p>
      </dgm:t>
    </dgm:pt>
    <dgm:pt modelId="{659ABFB6-7FF0-4AB5-BD2F-30360211CBBF}" type="sibTrans" cxnId="{5D43E8CC-B3F4-477F-8089-A188E4978959}">
      <dgm:prSet/>
      <dgm:spPr/>
      <dgm:t>
        <a:bodyPr/>
        <a:lstStyle/>
        <a:p>
          <a:endParaRPr lang="ru-RU"/>
        </a:p>
      </dgm:t>
    </dgm:pt>
    <dgm:pt modelId="{5563113B-B9AA-413F-BA00-60B7F649455A}">
      <dgm:prSet phldrT="[Текст]"/>
      <dgm:spPr>
        <a:gradFill rotWithShape="0">
          <a:gsLst>
            <a:gs pos="0">
              <a:srgbClr val="0099CC"/>
            </a:gs>
            <a:gs pos="58000">
              <a:srgbClr val="0099CC"/>
            </a:gs>
            <a:gs pos="100000">
              <a:srgbClr val="0099CC"/>
            </a:gs>
          </a:gsLst>
        </a:gradFill>
      </dgm:spPr>
      <dgm:t>
        <a:bodyPr/>
        <a:lstStyle/>
        <a:p>
          <a:r>
            <a:rPr lang="ru-RU" dirty="0" smtClean="0">
              <a:solidFill>
                <a:schemeClr val="bg1"/>
              </a:solidFill>
              <a:latin typeface="Book Antiqua" panose="02040602050305030304" pitchFamily="18" charset="0"/>
            </a:rPr>
            <a:t>О создании условий на финансовых рынках для обеспечения свободного движения капитала</a:t>
          </a:r>
          <a:endParaRPr lang="ru-RU" dirty="0">
            <a:solidFill>
              <a:schemeClr val="bg1"/>
            </a:solidFill>
            <a:latin typeface="Book Antiqua" panose="02040602050305030304" pitchFamily="18" charset="0"/>
          </a:endParaRPr>
        </a:p>
      </dgm:t>
    </dgm:pt>
    <dgm:pt modelId="{2B4F8A18-12DD-45D9-82EB-838E131B3400}" type="parTrans" cxnId="{4902A9A1-35CC-41BA-A976-6E6D1D68D545}">
      <dgm:prSet/>
      <dgm:spPr/>
      <dgm:t>
        <a:bodyPr/>
        <a:lstStyle/>
        <a:p>
          <a:endParaRPr lang="ru-RU"/>
        </a:p>
      </dgm:t>
    </dgm:pt>
    <dgm:pt modelId="{67138B0A-03AE-4571-86D5-57706DDB734F}" type="sibTrans" cxnId="{4902A9A1-35CC-41BA-A976-6E6D1D68D545}">
      <dgm:prSet/>
      <dgm:spPr/>
      <dgm:t>
        <a:bodyPr/>
        <a:lstStyle/>
        <a:p>
          <a:endParaRPr lang="ru-RU"/>
        </a:p>
      </dgm:t>
    </dgm:pt>
    <dgm:pt modelId="{133AC329-AACF-4BE9-8B57-77EC9C12E38A}">
      <dgm:prSet phldrT="[Текст]" custT="1"/>
      <dgm:spPr>
        <a:gradFill rotWithShape="0">
          <a:gsLst>
            <a:gs pos="77000">
              <a:srgbClr val="0099CC"/>
            </a:gs>
            <a:gs pos="0">
              <a:srgbClr val="0099CC"/>
            </a:gs>
            <a:gs pos="45000">
              <a:srgbClr val="0099CC"/>
            </a:gs>
            <a:gs pos="100000">
              <a:srgbClr val="0099CC"/>
            </a:gs>
          </a:gsLst>
        </a:gradFill>
      </dgm:spPr>
      <dgm:t>
        <a:bodyPr/>
        <a:lstStyle/>
        <a:p>
          <a:r>
            <a:rPr lang="ru-RU" sz="1500" dirty="0" smtClean="0">
              <a:solidFill>
                <a:schemeClr val="bg1"/>
              </a:solidFill>
              <a:latin typeface="Book Antiqua" panose="02040602050305030304" pitchFamily="18" charset="0"/>
            </a:rPr>
            <a:t>О согласованных принципах валютной политики</a:t>
          </a:r>
          <a:endParaRPr lang="ru-RU" sz="1500" dirty="0">
            <a:solidFill>
              <a:schemeClr val="bg1"/>
            </a:solidFill>
            <a:latin typeface="Book Antiqua" panose="02040602050305030304" pitchFamily="18" charset="0"/>
          </a:endParaRPr>
        </a:p>
      </dgm:t>
    </dgm:pt>
    <dgm:pt modelId="{BC3ED1AC-6022-4FAF-A47B-5170D655ECCB}" type="parTrans" cxnId="{D39AB1DB-FD8D-4771-BEE2-0EFA2EF4B4C5}">
      <dgm:prSet/>
      <dgm:spPr/>
      <dgm:t>
        <a:bodyPr/>
        <a:lstStyle/>
        <a:p>
          <a:endParaRPr lang="ru-RU"/>
        </a:p>
      </dgm:t>
    </dgm:pt>
    <dgm:pt modelId="{0D20154C-BB6F-4BE7-BD71-1E5D780B7D6C}" type="sibTrans" cxnId="{D39AB1DB-FD8D-4771-BEE2-0EFA2EF4B4C5}">
      <dgm:prSet/>
      <dgm:spPr/>
      <dgm:t>
        <a:bodyPr/>
        <a:lstStyle/>
        <a:p>
          <a:endParaRPr lang="ru-RU"/>
        </a:p>
      </dgm:t>
    </dgm:pt>
    <dgm:pt modelId="{CD3E3233-997C-48F9-8A8C-32372A0A3B07}">
      <dgm:prSet phldrT="[Текст]"/>
      <dgm:spPr>
        <a:gradFill rotWithShape="0">
          <a:gsLst>
            <a:gs pos="0">
              <a:srgbClr val="0099CC"/>
            </a:gs>
            <a:gs pos="80000">
              <a:srgbClr val="0099CC"/>
            </a:gs>
            <a:gs pos="100000">
              <a:srgbClr val="0099CC"/>
            </a:gs>
          </a:gsLst>
        </a:gradFill>
      </dgm:spPr>
      <dgm:t>
        <a:bodyPr/>
        <a:lstStyle/>
        <a:p>
          <a:r>
            <a:rPr lang="en-US" dirty="0" smtClean="0"/>
            <a:t>…</a:t>
          </a:r>
          <a:endParaRPr lang="ru-RU" dirty="0"/>
        </a:p>
      </dgm:t>
    </dgm:pt>
    <dgm:pt modelId="{127E3CB5-DDAD-41A2-BF2D-8950A304DDD7}" type="parTrans" cxnId="{65926263-EAD0-4B44-A296-5A0207071E58}">
      <dgm:prSet/>
      <dgm:spPr/>
      <dgm:t>
        <a:bodyPr/>
        <a:lstStyle/>
        <a:p>
          <a:endParaRPr lang="ru-RU"/>
        </a:p>
      </dgm:t>
    </dgm:pt>
    <dgm:pt modelId="{5E17588F-6B49-43CF-AEE9-8C6835CF757C}" type="sibTrans" cxnId="{65926263-EAD0-4B44-A296-5A0207071E58}">
      <dgm:prSet/>
      <dgm:spPr/>
      <dgm:t>
        <a:bodyPr/>
        <a:lstStyle/>
        <a:p>
          <a:endParaRPr lang="ru-RU"/>
        </a:p>
      </dgm:t>
    </dgm:pt>
    <dgm:pt modelId="{A79CF751-159A-4171-86C0-FA3AC71A5697}" type="pres">
      <dgm:prSet presAssocID="{1AB3719C-8C98-4EFD-B282-18CE8BF3D665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C92AA8E0-B6FF-4E8E-9DE8-40AF84BB00CF}" type="pres">
      <dgm:prSet presAssocID="{52F4091A-FC77-4B8F-9A9E-5F41E1B3D153}" presName="singleCycle" presStyleCnt="0"/>
      <dgm:spPr/>
      <dgm:t>
        <a:bodyPr/>
        <a:lstStyle/>
        <a:p>
          <a:endParaRPr lang="ru-RU"/>
        </a:p>
      </dgm:t>
    </dgm:pt>
    <dgm:pt modelId="{7726AF49-0F5A-47B0-AF72-215BC3878AFE}" type="pres">
      <dgm:prSet presAssocID="{52F4091A-FC77-4B8F-9A9E-5F41E1B3D153}" presName="singleCenter" presStyleLbl="node1" presStyleIdx="0" presStyleCnt="5" custScaleX="175572" custScaleY="161740" custLinFactNeighborX="-37014" custLinFactNeighborY="-29575">
        <dgm:presLayoutVars>
          <dgm:chMax val="7"/>
          <dgm:chPref val="7"/>
        </dgm:presLayoutVars>
      </dgm:prSet>
      <dgm:spPr/>
      <dgm:t>
        <a:bodyPr/>
        <a:lstStyle/>
        <a:p>
          <a:endParaRPr lang="ru-RU"/>
        </a:p>
      </dgm:t>
    </dgm:pt>
    <dgm:pt modelId="{962666A7-13FE-4BA9-B1F1-B5FCCB1179DF}" type="pres">
      <dgm:prSet presAssocID="{DCA5786D-B105-47F2-9823-DDE31EE72961}" presName="Name56" presStyleLbl="parChTrans1D2" presStyleIdx="0" presStyleCnt="4"/>
      <dgm:spPr/>
      <dgm:t>
        <a:bodyPr/>
        <a:lstStyle/>
        <a:p>
          <a:endParaRPr lang="ru-RU"/>
        </a:p>
      </dgm:t>
    </dgm:pt>
    <dgm:pt modelId="{ECEAF657-BE66-4935-94CE-122AAAC912B7}" type="pres">
      <dgm:prSet presAssocID="{816CA91F-CB16-4FA9-9248-82AED63A7A17}" presName="text0" presStyleLbl="node1" presStyleIdx="1" presStyleCnt="5" custScaleX="250716" custScaleY="161022" custRadScaleRad="79681" custRadScaleInc="18208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37DDBD3-46F1-40F6-B74B-6AF277069E9B}" type="pres">
      <dgm:prSet presAssocID="{2B4F8A18-12DD-45D9-82EB-838E131B3400}" presName="Name56" presStyleLbl="parChTrans1D2" presStyleIdx="1" presStyleCnt="4"/>
      <dgm:spPr/>
      <dgm:t>
        <a:bodyPr/>
        <a:lstStyle/>
        <a:p>
          <a:endParaRPr lang="ru-RU"/>
        </a:p>
      </dgm:t>
    </dgm:pt>
    <dgm:pt modelId="{216F407C-B877-4817-BF10-C7C524511672}" type="pres">
      <dgm:prSet presAssocID="{5563113B-B9AA-413F-BA00-60B7F649455A}" presName="text0" presStyleLbl="node1" presStyleIdx="2" presStyleCnt="5" custScaleX="244133" custScaleY="142236" custRadScaleRad="136683" custRadScaleInc="-10508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C8782BB-3650-4DEF-AF9C-0CD0634A0137}" type="pres">
      <dgm:prSet presAssocID="{BC3ED1AC-6022-4FAF-A47B-5170D655ECCB}" presName="Name56" presStyleLbl="parChTrans1D2" presStyleIdx="2" presStyleCnt="4"/>
      <dgm:spPr/>
      <dgm:t>
        <a:bodyPr/>
        <a:lstStyle/>
        <a:p>
          <a:endParaRPr lang="ru-RU"/>
        </a:p>
      </dgm:t>
    </dgm:pt>
    <dgm:pt modelId="{92572ED6-151E-457C-9270-02C7D850999F}" type="pres">
      <dgm:prSet presAssocID="{133AC329-AACF-4BE9-8B57-77EC9C12E38A}" presName="text0" presStyleLbl="node1" presStyleIdx="3" presStyleCnt="5" custScaleX="234207" custScaleY="140135" custRadScaleRad="73093" custRadScaleInc="-2948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8F80D27-E3FB-4F6E-8674-742E5278B2BF}" type="pres">
      <dgm:prSet presAssocID="{127E3CB5-DDAD-41A2-BF2D-8950A304DDD7}" presName="Name56" presStyleLbl="parChTrans1D2" presStyleIdx="3" presStyleCnt="4"/>
      <dgm:spPr/>
      <dgm:t>
        <a:bodyPr/>
        <a:lstStyle/>
        <a:p>
          <a:endParaRPr lang="ru-RU"/>
        </a:p>
      </dgm:t>
    </dgm:pt>
    <dgm:pt modelId="{8F61CB96-9897-401D-8D06-79B676B58ED7}" type="pres">
      <dgm:prSet presAssocID="{CD3E3233-997C-48F9-8A8C-32372A0A3B07}" presName="text0" presStyleLbl="node1" presStyleIdx="4" presStyleCnt="5" custScaleX="130921" custScaleY="167446" custRadScaleRad="119146" custRadScaleInc="-980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25E362C-86F9-4F52-8842-F90AC459EC56}" type="presOf" srcId="{2B4F8A18-12DD-45D9-82EB-838E131B3400}" destId="{337DDBD3-46F1-40F6-B74B-6AF277069E9B}" srcOrd="0" destOrd="0" presId="urn:microsoft.com/office/officeart/2008/layout/RadialCluster"/>
    <dgm:cxn modelId="{1DD51390-7AD9-4F25-A50A-8DC8E877F791}" type="presOf" srcId="{816CA91F-CB16-4FA9-9248-82AED63A7A17}" destId="{ECEAF657-BE66-4935-94CE-122AAAC912B7}" srcOrd="0" destOrd="0" presId="urn:microsoft.com/office/officeart/2008/layout/RadialCluster"/>
    <dgm:cxn modelId="{04321646-6AA4-4DE0-97C0-5B00273866F3}" type="presOf" srcId="{1AB3719C-8C98-4EFD-B282-18CE8BF3D665}" destId="{A79CF751-159A-4171-86C0-FA3AC71A5697}" srcOrd="0" destOrd="0" presId="urn:microsoft.com/office/officeart/2008/layout/RadialCluster"/>
    <dgm:cxn modelId="{E66A5738-05B7-455D-96DE-092F3D0DE461}" srcId="{1AB3719C-8C98-4EFD-B282-18CE8BF3D665}" destId="{52F4091A-FC77-4B8F-9A9E-5F41E1B3D153}" srcOrd="0" destOrd="0" parTransId="{751CCE36-863D-4372-B1E1-25A0DA8304C2}" sibTransId="{41CD2350-EF08-49B0-B30B-2243BC640DF4}"/>
    <dgm:cxn modelId="{70578959-25A8-4ED2-AEBC-C9EB2B25C45E}" type="presOf" srcId="{52F4091A-FC77-4B8F-9A9E-5F41E1B3D153}" destId="{7726AF49-0F5A-47B0-AF72-215BC3878AFE}" srcOrd="0" destOrd="0" presId="urn:microsoft.com/office/officeart/2008/layout/RadialCluster"/>
    <dgm:cxn modelId="{125DB743-09F2-4117-8E6F-D5C835112D31}" type="presOf" srcId="{CD3E3233-997C-48F9-8A8C-32372A0A3B07}" destId="{8F61CB96-9897-401D-8D06-79B676B58ED7}" srcOrd="0" destOrd="0" presId="urn:microsoft.com/office/officeart/2008/layout/RadialCluster"/>
    <dgm:cxn modelId="{4902A9A1-35CC-41BA-A976-6E6D1D68D545}" srcId="{52F4091A-FC77-4B8F-9A9E-5F41E1B3D153}" destId="{5563113B-B9AA-413F-BA00-60B7F649455A}" srcOrd="1" destOrd="0" parTransId="{2B4F8A18-12DD-45D9-82EB-838E131B3400}" sibTransId="{67138B0A-03AE-4571-86D5-57706DDB734F}"/>
    <dgm:cxn modelId="{5D43E8CC-B3F4-477F-8089-A188E4978959}" srcId="{52F4091A-FC77-4B8F-9A9E-5F41E1B3D153}" destId="{816CA91F-CB16-4FA9-9248-82AED63A7A17}" srcOrd="0" destOrd="0" parTransId="{DCA5786D-B105-47F2-9823-DDE31EE72961}" sibTransId="{659ABFB6-7FF0-4AB5-BD2F-30360211CBBF}"/>
    <dgm:cxn modelId="{0F9725A2-76F4-44DD-96C9-AB375FA01413}" type="presOf" srcId="{5563113B-B9AA-413F-BA00-60B7F649455A}" destId="{216F407C-B877-4817-BF10-C7C524511672}" srcOrd="0" destOrd="0" presId="urn:microsoft.com/office/officeart/2008/layout/RadialCluster"/>
    <dgm:cxn modelId="{D39AB1DB-FD8D-4771-BEE2-0EFA2EF4B4C5}" srcId="{52F4091A-FC77-4B8F-9A9E-5F41E1B3D153}" destId="{133AC329-AACF-4BE9-8B57-77EC9C12E38A}" srcOrd="2" destOrd="0" parTransId="{BC3ED1AC-6022-4FAF-A47B-5170D655ECCB}" sibTransId="{0D20154C-BB6F-4BE7-BD71-1E5D780B7D6C}"/>
    <dgm:cxn modelId="{F2BC35FE-70F8-499D-9DD9-F7F18DE47F4F}" type="presOf" srcId="{133AC329-AACF-4BE9-8B57-77EC9C12E38A}" destId="{92572ED6-151E-457C-9270-02C7D850999F}" srcOrd="0" destOrd="0" presId="urn:microsoft.com/office/officeart/2008/layout/RadialCluster"/>
    <dgm:cxn modelId="{AA04716F-0C55-4321-B970-772AFAFE66BE}" type="presOf" srcId="{127E3CB5-DDAD-41A2-BF2D-8950A304DDD7}" destId="{F8F80D27-E3FB-4F6E-8674-742E5278B2BF}" srcOrd="0" destOrd="0" presId="urn:microsoft.com/office/officeart/2008/layout/RadialCluster"/>
    <dgm:cxn modelId="{65926263-EAD0-4B44-A296-5A0207071E58}" srcId="{52F4091A-FC77-4B8F-9A9E-5F41E1B3D153}" destId="{CD3E3233-997C-48F9-8A8C-32372A0A3B07}" srcOrd="3" destOrd="0" parTransId="{127E3CB5-DDAD-41A2-BF2D-8950A304DDD7}" sibTransId="{5E17588F-6B49-43CF-AEE9-8C6835CF757C}"/>
    <dgm:cxn modelId="{5E2E2E3A-8A87-4686-94AF-339D3A8037FB}" type="presOf" srcId="{DCA5786D-B105-47F2-9823-DDE31EE72961}" destId="{962666A7-13FE-4BA9-B1F1-B5FCCB1179DF}" srcOrd="0" destOrd="0" presId="urn:microsoft.com/office/officeart/2008/layout/RadialCluster"/>
    <dgm:cxn modelId="{0D6CAFAD-5AA4-4084-A372-9211D87456CE}" type="presOf" srcId="{BC3ED1AC-6022-4FAF-A47B-5170D655ECCB}" destId="{4C8782BB-3650-4DEF-AF9C-0CD0634A0137}" srcOrd="0" destOrd="0" presId="urn:microsoft.com/office/officeart/2008/layout/RadialCluster"/>
    <dgm:cxn modelId="{0FDDCE8E-6464-46F9-8E47-C7911A7F8A0F}" type="presParOf" srcId="{A79CF751-159A-4171-86C0-FA3AC71A5697}" destId="{C92AA8E0-B6FF-4E8E-9DE8-40AF84BB00CF}" srcOrd="0" destOrd="0" presId="urn:microsoft.com/office/officeart/2008/layout/RadialCluster"/>
    <dgm:cxn modelId="{F7407601-96BC-4DA3-B6F0-288573E3CA31}" type="presParOf" srcId="{C92AA8E0-B6FF-4E8E-9DE8-40AF84BB00CF}" destId="{7726AF49-0F5A-47B0-AF72-215BC3878AFE}" srcOrd="0" destOrd="0" presId="urn:microsoft.com/office/officeart/2008/layout/RadialCluster"/>
    <dgm:cxn modelId="{2EC3483A-10DF-4002-A08B-34D6E8F337AE}" type="presParOf" srcId="{C92AA8E0-B6FF-4E8E-9DE8-40AF84BB00CF}" destId="{962666A7-13FE-4BA9-B1F1-B5FCCB1179DF}" srcOrd="1" destOrd="0" presId="urn:microsoft.com/office/officeart/2008/layout/RadialCluster"/>
    <dgm:cxn modelId="{FD5A4BB7-E7F0-4BF9-B73F-FB85CC00028E}" type="presParOf" srcId="{C92AA8E0-B6FF-4E8E-9DE8-40AF84BB00CF}" destId="{ECEAF657-BE66-4935-94CE-122AAAC912B7}" srcOrd="2" destOrd="0" presId="urn:microsoft.com/office/officeart/2008/layout/RadialCluster"/>
    <dgm:cxn modelId="{333A60EB-3078-45F4-8087-1093F2DCF053}" type="presParOf" srcId="{C92AA8E0-B6FF-4E8E-9DE8-40AF84BB00CF}" destId="{337DDBD3-46F1-40F6-B74B-6AF277069E9B}" srcOrd="3" destOrd="0" presId="urn:microsoft.com/office/officeart/2008/layout/RadialCluster"/>
    <dgm:cxn modelId="{CA101211-CFC7-48C1-B76D-03940682BD4E}" type="presParOf" srcId="{C92AA8E0-B6FF-4E8E-9DE8-40AF84BB00CF}" destId="{216F407C-B877-4817-BF10-C7C524511672}" srcOrd="4" destOrd="0" presId="urn:microsoft.com/office/officeart/2008/layout/RadialCluster"/>
    <dgm:cxn modelId="{2299A042-C177-419B-AEDB-C8042A31B3DD}" type="presParOf" srcId="{C92AA8E0-B6FF-4E8E-9DE8-40AF84BB00CF}" destId="{4C8782BB-3650-4DEF-AF9C-0CD0634A0137}" srcOrd="5" destOrd="0" presId="urn:microsoft.com/office/officeart/2008/layout/RadialCluster"/>
    <dgm:cxn modelId="{4A736040-8DE1-4F80-BABE-5525ECA28EE6}" type="presParOf" srcId="{C92AA8E0-B6FF-4E8E-9DE8-40AF84BB00CF}" destId="{92572ED6-151E-457C-9270-02C7D850999F}" srcOrd="6" destOrd="0" presId="urn:microsoft.com/office/officeart/2008/layout/RadialCluster"/>
    <dgm:cxn modelId="{C73797A7-EDCF-49BE-8C06-256469DD03FB}" type="presParOf" srcId="{C92AA8E0-B6FF-4E8E-9DE8-40AF84BB00CF}" destId="{F8F80D27-E3FB-4F6E-8674-742E5278B2BF}" srcOrd="7" destOrd="0" presId="urn:microsoft.com/office/officeart/2008/layout/RadialCluster"/>
    <dgm:cxn modelId="{BA742CEC-F021-427B-86F0-D622726AB9C4}" type="presParOf" srcId="{C92AA8E0-B6FF-4E8E-9DE8-40AF84BB00CF}" destId="{8F61CB96-9897-401D-8D06-79B676B58ED7}" srcOrd="8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FF45E2F-E173-4B13-BDC1-51D1D3E5DC45}" type="doc">
      <dgm:prSet loTypeId="urn:microsoft.com/office/officeart/2008/layout/VerticalCurvedList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4E01004-8FD4-419D-BF5F-D75F00113448}">
      <dgm:prSet phldrT="[Текст]" custT="1"/>
      <dgm:spPr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</a:gradFill>
      </dgm:spPr>
      <dgm:t>
        <a:bodyPr/>
        <a:lstStyle/>
        <a:p>
          <a:r>
            <a:rPr lang="ru-RU" sz="2400" kern="120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Товаров</a:t>
          </a:r>
          <a:r>
            <a:rPr lang="en-US" sz="2400" kern="120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 </a:t>
          </a:r>
          <a:endParaRPr lang="ru-RU" sz="2400" kern="1200" dirty="0">
            <a:latin typeface="Book Antiqua" panose="02040602050305030304" pitchFamily="18" charset="0"/>
            <a:ea typeface="+mn-ea"/>
            <a:cs typeface="Times New Roman" panose="02020603050405020304" pitchFamily="18" charset="0"/>
          </a:endParaRPr>
        </a:p>
      </dgm:t>
    </dgm:pt>
    <dgm:pt modelId="{4F422544-C990-4522-878D-9D3530386DF0}" type="parTrans" cxnId="{2DA27E13-AC7C-4AD2-AD71-2F998658ECD0}">
      <dgm:prSet/>
      <dgm:spPr/>
      <dgm:t>
        <a:bodyPr/>
        <a:lstStyle/>
        <a:p>
          <a:endParaRPr lang="ru-RU"/>
        </a:p>
      </dgm:t>
    </dgm:pt>
    <dgm:pt modelId="{861CAE0E-704E-4F40-987C-AA74F3DDE97A}" type="sibTrans" cxnId="{2DA27E13-AC7C-4AD2-AD71-2F998658ECD0}">
      <dgm:prSet/>
      <dgm:spPr/>
      <dgm:t>
        <a:bodyPr/>
        <a:lstStyle/>
        <a:p>
          <a:endParaRPr lang="ru-RU"/>
        </a:p>
      </dgm:t>
    </dgm:pt>
    <dgm:pt modelId="{3C71D1E6-E8A4-4B30-B704-5AEF43899C0D}">
      <dgm:prSet phldrT="[Текст]" custT="1"/>
      <dgm:spPr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</a:gradFill>
      </dgm:spPr>
      <dgm:t>
        <a:bodyPr/>
        <a:lstStyle/>
        <a:p>
          <a:r>
            <a:rPr lang="ru-RU" sz="2400" kern="120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Услуг</a:t>
          </a:r>
          <a:endParaRPr lang="ru-RU" sz="2400" kern="1200" dirty="0">
            <a:latin typeface="Book Antiqua" panose="02040602050305030304" pitchFamily="18" charset="0"/>
            <a:ea typeface="+mn-ea"/>
            <a:cs typeface="Times New Roman" panose="02020603050405020304" pitchFamily="18" charset="0"/>
          </a:endParaRPr>
        </a:p>
      </dgm:t>
    </dgm:pt>
    <dgm:pt modelId="{5E47182B-2C61-440C-8165-A43CA87C237A}" type="parTrans" cxnId="{4A1254D8-57E8-4DAD-A692-FA610473DA70}">
      <dgm:prSet/>
      <dgm:spPr/>
      <dgm:t>
        <a:bodyPr/>
        <a:lstStyle/>
        <a:p>
          <a:endParaRPr lang="ru-RU"/>
        </a:p>
      </dgm:t>
    </dgm:pt>
    <dgm:pt modelId="{7AB57823-DA11-4E58-B505-6CB7AA8EDA3D}" type="sibTrans" cxnId="{4A1254D8-57E8-4DAD-A692-FA610473DA70}">
      <dgm:prSet/>
      <dgm:spPr/>
      <dgm:t>
        <a:bodyPr/>
        <a:lstStyle/>
        <a:p>
          <a:endParaRPr lang="ru-RU"/>
        </a:p>
      </dgm:t>
    </dgm:pt>
    <dgm:pt modelId="{20BFB9EF-E207-42E4-A816-FC04F358A386}">
      <dgm:prSet phldrT="[Текст]" custT="1"/>
      <dgm:spPr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</a:gradFill>
      </dgm:spPr>
      <dgm:t>
        <a:bodyPr/>
        <a:lstStyle/>
        <a:p>
          <a:r>
            <a:rPr lang="ru-RU" sz="2400" strike="noStrike" kern="120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Капитала</a:t>
          </a:r>
          <a:endParaRPr lang="ru-RU" sz="2400" strike="noStrike" kern="1200" dirty="0">
            <a:latin typeface="Book Antiqua" panose="02040602050305030304" pitchFamily="18" charset="0"/>
            <a:ea typeface="+mn-ea"/>
            <a:cs typeface="Times New Roman" panose="02020603050405020304" pitchFamily="18" charset="0"/>
          </a:endParaRPr>
        </a:p>
      </dgm:t>
    </dgm:pt>
    <dgm:pt modelId="{E36964A8-C6E3-4DBE-9599-F9027BBA0A5D}" type="parTrans" cxnId="{10BAE0AA-C6DC-4040-8836-8D0BC4CBE8F3}">
      <dgm:prSet/>
      <dgm:spPr/>
      <dgm:t>
        <a:bodyPr/>
        <a:lstStyle/>
        <a:p>
          <a:endParaRPr lang="ru-RU"/>
        </a:p>
      </dgm:t>
    </dgm:pt>
    <dgm:pt modelId="{EEA94701-4F61-4111-9829-15A1CC99D55E}" type="sibTrans" cxnId="{10BAE0AA-C6DC-4040-8836-8D0BC4CBE8F3}">
      <dgm:prSet/>
      <dgm:spPr/>
      <dgm:t>
        <a:bodyPr/>
        <a:lstStyle/>
        <a:p>
          <a:endParaRPr lang="ru-RU"/>
        </a:p>
      </dgm:t>
    </dgm:pt>
    <dgm:pt modelId="{F7F9940F-E0EA-403C-BE4C-8288B97C3CFB}">
      <dgm:prSet phldrT="[Текст]" custT="1"/>
      <dgm:spPr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</a:gradFill>
      </dgm:spPr>
      <dgm:t>
        <a:bodyPr/>
        <a:lstStyle/>
        <a:p>
          <a:r>
            <a:rPr lang="ru-RU" sz="2400" strike="noStrike" kern="120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Рабочей силы</a:t>
          </a:r>
          <a:endParaRPr lang="ru-RU" sz="2400" strike="noStrike" kern="1200" dirty="0">
            <a:latin typeface="Book Antiqua" panose="02040602050305030304" pitchFamily="18" charset="0"/>
            <a:ea typeface="+mn-ea"/>
            <a:cs typeface="Times New Roman" panose="02020603050405020304" pitchFamily="18" charset="0"/>
          </a:endParaRPr>
        </a:p>
      </dgm:t>
    </dgm:pt>
    <dgm:pt modelId="{3694A639-4BF1-4D2E-9F86-B3B1351D0582}" type="parTrans" cxnId="{0423CA0C-7DBE-4856-B2EF-56E7A0C5B3DD}">
      <dgm:prSet/>
      <dgm:spPr/>
      <dgm:t>
        <a:bodyPr/>
        <a:lstStyle/>
        <a:p>
          <a:endParaRPr lang="ru-RU"/>
        </a:p>
      </dgm:t>
    </dgm:pt>
    <dgm:pt modelId="{5805D069-DF37-40E7-AC0C-171C334F1386}" type="sibTrans" cxnId="{0423CA0C-7DBE-4856-B2EF-56E7A0C5B3DD}">
      <dgm:prSet/>
      <dgm:spPr/>
      <dgm:t>
        <a:bodyPr/>
        <a:lstStyle/>
        <a:p>
          <a:endParaRPr lang="ru-RU"/>
        </a:p>
      </dgm:t>
    </dgm:pt>
    <dgm:pt modelId="{0AA096E4-F67A-4A8E-9BED-B2E00AEDF9A1}" type="pres">
      <dgm:prSet presAssocID="{EFF45E2F-E173-4B13-BDC1-51D1D3E5DC45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0B3CF96D-7B88-4069-A151-107227835000}" type="pres">
      <dgm:prSet presAssocID="{EFF45E2F-E173-4B13-BDC1-51D1D3E5DC45}" presName="Name1" presStyleCnt="0"/>
      <dgm:spPr/>
      <dgm:t>
        <a:bodyPr/>
        <a:lstStyle/>
        <a:p>
          <a:endParaRPr lang="ru-RU"/>
        </a:p>
      </dgm:t>
    </dgm:pt>
    <dgm:pt modelId="{EEBD86A6-5020-4AEF-B8AA-1018DB65DC50}" type="pres">
      <dgm:prSet presAssocID="{EFF45E2F-E173-4B13-BDC1-51D1D3E5DC45}" presName="cycle" presStyleCnt="0"/>
      <dgm:spPr/>
      <dgm:t>
        <a:bodyPr/>
        <a:lstStyle/>
        <a:p>
          <a:endParaRPr lang="ru-RU"/>
        </a:p>
      </dgm:t>
    </dgm:pt>
    <dgm:pt modelId="{DE485907-3F86-4532-BE33-ABB7F70AB796}" type="pres">
      <dgm:prSet presAssocID="{EFF45E2F-E173-4B13-BDC1-51D1D3E5DC45}" presName="srcNode" presStyleLbl="node1" presStyleIdx="0" presStyleCnt="4"/>
      <dgm:spPr/>
      <dgm:t>
        <a:bodyPr/>
        <a:lstStyle/>
        <a:p>
          <a:endParaRPr lang="ru-RU"/>
        </a:p>
      </dgm:t>
    </dgm:pt>
    <dgm:pt modelId="{20D82740-A365-4927-B17E-D91934F00D42}" type="pres">
      <dgm:prSet presAssocID="{EFF45E2F-E173-4B13-BDC1-51D1D3E5DC45}" presName="conn" presStyleLbl="parChTrans1D2" presStyleIdx="0" presStyleCnt="1"/>
      <dgm:spPr/>
      <dgm:t>
        <a:bodyPr/>
        <a:lstStyle/>
        <a:p>
          <a:endParaRPr lang="ru-RU"/>
        </a:p>
      </dgm:t>
    </dgm:pt>
    <dgm:pt modelId="{B69450E8-5173-414F-9D9C-70A981870F99}" type="pres">
      <dgm:prSet presAssocID="{EFF45E2F-E173-4B13-BDC1-51D1D3E5DC45}" presName="extraNode" presStyleLbl="node1" presStyleIdx="0" presStyleCnt="4"/>
      <dgm:spPr/>
      <dgm:t>
        <a:bodyPr/>
        <a:lstStyle/>
        <a:p>
          <a:endParaRPr lang="ru-RU"/>
        </a:p>
      </dgm:t>
    </dgm:pt>
    <dgm:pt modelId="{B58CAA23-C49E-490C-9DA9-DD9BEEB4386F}" type="pres">
      <dgm:prSet presAssocID="{EFF45E2F-E173-4B13-BDC1-51D1D3E5DC45}" presName="dstNode" presStyleLbl="node1" presStyleIdx="0" presStyleCnt="4"/>
      <dgm:spPr/>
      <dgm:t>
        <a:bodyPr/>
        <a:lstStyle/>
        <a:p>
          <a:endParaRPr lang="ru-RU"/>
        </a:p>
      </dgm:t>
    </dgm:pt>
    <dgm:pt modelId="{424ECC5A-B02F-4271-96E6-517A7CAA5468}" type="pres">
      <dgm:prSet presAssocID="{14E01004-8FD4-419D-BF5F-D75F00113448}" presName="text_1" presStyleLbl="node1" presStyleIdx="0" presStyleCnt="4" custLinFactNeighborX="493" custLinFactNeighborY="-351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06126F-C99D-4D62-A1FE-356FE7B1850B}" type="pres">
      <dgm:prSet presAssocID="{14E01004-8FD4-419D-BF5F-D75F00113448}" presName="accent_1" presStyleCnt="0"/>
      <dgm:spPr/>
      <dgm:t>
        <a:bodyPr/>
        <a:lstStyle/>
        <a:p>
          <a:endParaRPr lang="ru-RU"/>
        </a:p>
      </dgm:t>
    </dgm:pt>
    <dgm:pt modelId="{26ADCB6E-F609-4B1F-8187-1D8D85352EEC}" type="pres">
      <dgm:prSet presAssocID="{14E01004-8FD4-419D-BF5F-D75F00113448}" presName="accentRepeatNode" presStyleLbl="solidFgAcc1" presStyleIdx="0" presStyleCnt="4" custLinFactNeighborX="1479" custLinFactNeighborY="-98"/>
      <dgm:spPr/>
      <dgm:t>
        <a:bodyPr/>
        <a:lstStyle/>
        <a:p>
          <a:endParaRPr lang="ru-RU"/>
        </a:p>
      </dgm:t>
    </dgm:pt>
    <dgm:pt modelId="{653A904B-2945-4DD7-8DE1-CB62F447A67F}" type="pres">
      <dgm:prSet presAssocID="{3C71D1E6-E8A4-4B30-B704-5AEF43899C0D}" presName="text_2" presStyleLbl="node1" presStyleIdx="1" presStyleCnt="4" custLinFactNeighborX="717" custLinFactNeighborY="164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FB52A5-8F4E-46F4-B92A-6179787572C3}" type="pres">
      <dgm:prSet presAssocID="{3C71D1E6-E8A4-4B30-B704-5AEF43899C0D}" presName="accent_2" presStyleCnt="0"/>
      <dgm:spPr/>
      <dgm:t>
        <a:bodyPr/>
        <a:lstStyle/>
        <a:p>
          <a:endParaRPr lang="ru-RU"/>
        </a:p>
      </dgm:t>
    </dgm:pt>
    <dgm:pt modelId="{795E5A4E-731C-4F0A-BB61-44169590540D}" type="pres">
      <dgm:prSet presAssocID="{3C71D1E6-E8A4-4B30-B704-5AEF43899C0D}" presName="accentRepeatNode" presStyleLbl="solidFgAcc1" presStyleIdx="1" presStyleCnt="4"/>
      <dgm:spPr/>
      <dgm:t>
        <a:bodyPr/>
        <a:lstStyle/>
        <a:p>
          <a:endParaRPr lang="ru-RU"/>
        </a:p>
      </dgm:t>
    </dgm:pt>
    <dgm:pt modelId="{6B8AE3F6-BF95-47D0-BC1B-E67083D7DF5A}" type="pres">
      <dgm:prSet presAssocID="{20BFB9EF-E207-42E4-A816-FC04F358A386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C032050-402F-46D0-B0DD-DD4C8DFFE041}" type="pres">
      <dgm:prSet presAssocID="{20BFB9EF-E207-42E4-A816-FC04F358A386}" presName="accent_3" presStyleCnt="0"/>
      <dgm:spPr/>
      <dgm:t>
        <a:bodyPr/>
        <a:lstStyle/>
        <a:p>
          <a:endParaRPr lang="ru-RU"/>
        </a:p>
      </dgm:t>
    </dgm:pt>
    <dgm:pt modelId="{EB90A5C8-1B87-4CA5-9481-8B730946B8D7}" type="pres">
      <dgm:prSet presAssocID="{20BFB9EF-E207-42E4-A816-FC04F358A386}" presName="accentRepeatNode" presStyleLbl="solidFgAcc1" presStyleIdx="2" presStyleCnt="4"/>
      <dgm:spPr/>
      <dgm:t>
        <a:bodyPr/>
        <a:lstStyle/>
        <a:p>
          <a:endParaRPr lang="ru-RU"/>
        </a:p>
      </dgm:t>
    </dgm:pt>
    <dgm:pt modelId="{B57F3D88-7CF9-4269-8D89-807D04C932AF}" type="pres">
      <dgm:prSet presAssocID="{F7F9940F-E0EA-403C-BE4C-8288B97C3CFB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07A76D-29B9-479A-A2E1-00159F5646E8}" type="pres">
      <dgm:prSet presAssocID="{F7F9940F-E0EA-403C-BE4C-8288B97C3CFB}" presName="accent_4" presStyleCnt="0"/>
      <dgm:spPr/>
      <dgm:t>
        <a:bodyPr/>
        <a:lstStyle/>
        <a:p>
          <a:endParaRPr lang="ru-RU"/>
        </a:p>
      </dgm:t>
    </dgm:pt>
    <dgm:pt modelId="{AC6BDA3C-9E68-4A39-8603-648565DF74B8}" type="pres">
      <dgm:prSet presAssocID="{F7F9940F-E0EA-403C-BE4C-8288B97C3CFB}" presName="accentRepeatNode" presStyleLbl="solidFgAcc1" presStyleIdx="3" presStyleCnt="4"/>
      <dgm:spPr/>
      <dgm:t>
        <a:bodyPr/>
        <a:lstStyle/>
        <a:p>
          <a:endParaRPr lang="ru-RU"/>
        </a:p>
      </dgm:t>
    </dgm:pt>
  </dgm:ptLst>
  <dgm:cxnLst>
    <dgm:cxn modelId="{D4E58DBB-FC6C-4BA9-8AD4-07BDF089F267}" type="presOf" srcId="{14E01004-8FD4-419D-BF5F-D75F00113448}" destId="{424ECC5A-B02F-4271-96E6-517A7CAA5468}" srcOrd="0" destOrd="0" presId="urn:microsoft.com/office/officeart/2008/layout/VerticalCurvedList"/>
    <dgm:cxn modelId="{0305D481-2485-4067-94BD-21B56ABEA3BB}" type="presOf" srcId="{861CAE0E-704E-4F40-987C-AA74F3DDE97A}" destId="{20D82740-A365-4927-B17E-D91934F00D42}" srcOrd="0" destOrd="0" presId="urn:microsoft.com/office/officeart/2008/layout/VerticalCurvedList"/>
    <dgm:cxn modelId="{1C315AC6-C44B-4F23-955D-7592789D4226}" type="presOf" srcId="{3C71D1E6-E8A4-4B30-B704-5AEF43899C0D}" destId="{653A904B-2945-4DD7-8DE1-CB62F447A67F}" srcOrd="0" destOrd="0" presId="urn:microsoft.com/office/officeart/2008/layout/VerticalCurvedList"/>
    <dgm:cxn modelId="{0423CA0C-7DBE-4856-B2EF-56E7A0C5B3DD}" srcId="{EFF45E2F-E173-4B13-BDC1-51D1D3E5DC45}" destId="{F7F9940F-E0EA-403C-BE4C-8288B97C3CFB}" srcOrd="3" destOrd="0" parTransId="{3694A639-4BF1-4D2E-9F86-B3B1351D0582}" sibTransId="{5805D069-DF37-40E7-AC0C-171C334F1386}"/>
    <dgm:cxn modelId="{FBFA3763-EED2-4B2B-9053-C4EF128D8630}" type="presOf" srcId="{20BFB9EF-E207-42E4-A816-FC04F358A386}" destId="{6B8AE3F6-BF95-47D0-BC1B-E67083D7DF5A}" srcOrd="0" destOrd="0" presId="urn:microsoft.com/office/officeart/2008/layout/VerticalCurvedList"/>
    <dgm:cxn modelId="{4A1254D8-57E8-4DAD-A692-FA610473DA70}" srcId="{EFF45E2F-E173-4B13-BDC1-51D1D3E5DC45}" destId="{3C71D1E6-E8A4-4B30-B704-5AEF43899C0D}" srcOrd="1" destOrd="0" parTransId="{5E47182B-2C61-440C-8165-A43CA87C237A}" sibTransId="{7AB57823-DA11-4E58-B505-6CB7AA8EDA3D}"/>
    <dgm:cxn modelId="{2047B922-8A3F-49CF-9F34-F36D41919C4A}" type="presOf" srcId="{F7F9940F-E0EA-403C-BE4C-8288B97C3CFB}" destId="{B57F3D88-7CF9-4269-8D89-807D04C932AF}" srcOrd="0" destOrd="0" presId="urn:microsoft.com/office/officeart/2008/layout/VerticalCurvedList"/>
    <dgm:cxn modelId="{AEBA60E9-B5DE-41F2-8679-C9E786B84ABC}" type="presOf" srcId="{EFF45E2F-E173-4B13-BDC1-51D1D3E5DC45}" destId="{0AA096E4-F67A-4A8E-9BED-B2E00AEDF9A1}" srcOrd="0" destOrd="0" presId="urn:microsoft.com/office/officeart/2008/layout/VerticalCurvedList"/>
    <dgm:cxn modelId="{10BAE0AA-C6DC-4040-8836-8D0BC4CBE8F3}" srcId="{EFF45E2F-E173-4B13-BDC1-51D1D3E5DC45}" destId="{20BFB9EF-E207-42E4-A816-FC04F358A386}" srcOrd="2" destOrd="0" parTransId="{E36964A8-C6E3-4DBE-9599-F9027BBA0A5D}" sibTransId="{EEA94701-4F61-4111-9829-15A1CC99D55E}"/>
    <dgm:cxn modelId="{2DA27E13-AC7C-4AD2-AD71-2F998658ECD0}" srcId="{EFF45E2F-E173-4B13-BDC1-51D1D3E5DC45}" destId="{14E01004-8FD4-419D-BF5F-D75F00113448}" srcOrd="0" destOrd="0" parTransId="{4F422544-C990-4522-878D-9D3530386DF0}" sibTransId="{861CAE0E-704E-4F40-987C-AA74F3DDE97A}"/>
    <dgm:cxn modelId="{27D9979E-446C-44BA-86C4-2AE17DE3132A}" type="presParOf" srcId="{0AA096E4-F67A-4A8E-9BED-B2E00AEDF9A1}" destId="{0B3CF96D-7B88-4069-A151-107227835000}" srcOrd="0" destOrd="0" presId="urn:microsoft.com/office/officeart/2008/layout/VerticalCurvedList"/>
    <dgm:cxn modelId="{C9F72976-10EB-4D9E-9B61-5F3AA99F1810}" type="presParOf" srcId="{0B3CF96D-7B88-4069-A151-107227835000}" destId="{EEBD86A6-5020-4AEF-B8AA-1018DB65DC50}" srcOrd="0" destOrd="0" presId="urn:microsoft.com/office/officeart/2008/layout/VerticalCurvedList"/>
    <dgm:cxn modelId="{B7F2F17E-4DA7-45AF-AE74-690FE7A16923}" type="presParOf" srcId="{EEBD86A6-5020-4AEF-B8AA-1018DB65DC50}" destId="{DE485907-3F86-4532-BE33-ABB7F70AB796}" srcOrd="0" destOrd="0" presId="urn:microsoft.com/office/officeart/2008/layout/VerticalCurvedList"/>
    <dgm:cxn modelId="{B2CD68DD-CC1C-41C3-9DB8-CF3187680A99}" type="presParOf" srcId="{EEBD86A6-5020-4AEF-B8AA-1018DB65DC50}" destId="{20D82740-A365-4927-B17E-D91934F00D42}" srcOrd="1" destOrd="0" presId="urn:microsoft.com/office/officeart/2008/layout/VerticalCurvedList"/>
    <dgm:cxn modelId="{5D1D879F-9F3F-43EC-BAC7-4F9485E2EB14}" type="presParOf" srcId="{EEBD86A6-5020-4AEF-B8AA-1018DB65DC50}" destId="{B69450E8-5173-414F-9D9C-70A981870F99}" srcOrd="2" destOrd="0" presId="urn:microsoft.com/office/officeart/2008/layout/VerticalCurvedList"/>
    <dgm:cxn modelId="{44ED7515-CB84-4843-9236-CE055E0892EA}" type="presParOf" srcId="{EEBD86A6-5020-4AEF-B8AA-1018DB65DC50}" destId="{B58CAA23-C49E-490C-9DA9-DD9BEEB4386F}" srcOrd="3" destOrd="0" presId="urn:microsoft.com/office/officeart/2008/layout/VerticalCurvedList"/>
    <dgm:cxn modelId="{AEAD9123-10B2-4E55-960F-693C42BE2B3F}" type="presParOf" srcId="{0B3CF96D-7B88-4069-A151-107227835000}" destId="{424ECC5A-B02F-4271-96E6-517A7CAA5468}" srcOrd="1" destOrd="0" presId="urn:microsoft.com/office/officeart/2008/layout/VerticalCurvedList"/>
    <dgm:cxn modelId="{F6A8E283-5FE5-41D9-9E87-12C570B044CE}" type="presParOf" srcId="{0B3CF96D-7B88-4069-A151-107227835000}" destId="{0806126F-C99D-4D62-A1FE-356FE7B1850B}" srcOrd="2" destOrd="0" presId="urn:microsoft.com/office/officeart/2008/layout/VerticalCurvedList"/>
    <dgm:cxn modelId="{2E34DC99-0969-470F-BF3B-1734BC0AEB43}" type="presParOf" srcId="{0806126F-C99D-4D62-A1FE-356FE7B1850B}" destId="{26ADCB6E-F609-4B1F-8187-1D8D85352EEC}" srcOrd="0" destOrd="0" presId="urn:microsoft.com/office/officeart/2008/layout/VerticalCurvedList"/>
    <dgm:cxn modelId="{34950514-F409-4B73-9791-2A47B2263D7A}" type="presParOf" srcId="{0B3CF96D-7B88-4069-A151-107227835000}" destId="{653A904B-2945-4DD7-8DE1-CB62F447A67F}" srcOrd="3" destOrd="0" presId="urn:microsoft.com/office/officeart/2008/layout/VerticalCurvedList"/>
    <dgm:cxn modelId="{EFFA1138-9148-4DCE-A813-5CE1CB327AC1}" type="presParOf" srcId="{0B3CF96D-7B88-4069-A151-107227835000}" destId="{31FB52A5-8F4E-46F4-B92A-6179787572C3}" srcOrd="4" destOrd="0" presId="urn:microsoft.com/office/officeart/2008/layout/VerticalCurvedList"/>
    <dgm:cxn modelId="{1113BF85-216D-4D08-8DE5-D1E57333F2DC}" type="presParOf" srcId="{31FB52A5-8F4E-46F4-B92A-6179787572C3}" destId="{795E5A4E-731C-4F0A-BB61-44169590540D}" srcOrd="0" destOrd="0" presId="urn:microsoft.com/office/officeart/2008/layout/VerticalCurvedList"/>
    <dgm:cxn modelId="{AD004759-0C3C-46C8-A9FE-89613FA0B236}" type="presParOf" srcId="{0B3CF96D-7B88-4069-A151-107227835000}" destId="{6B8AE3F6-BF95-47D0-BC1B-E67083D7DF5A}" srcOrd="5" destOrd="0" presId="urn:microsoft.com/office/officeart/2008/layout/VerticalCurvedList"/>
    <dgm:cxn modelId="{8CD9EC56-87B5-4635-9E27-AA2FB0D906D5}" type="presParOf" srcId="{0B3CF96D-7B88-4069-A151-107227835000}" destId="{5C032050-402F-46D0-B0DD-DD4C8DFFE041}" srcOrd="6" destOrd="0" presId="urn:microsoft.com/office/officeart/2008/layout/VerticalCurvedList"/>
    <dgm:cxn modelId="{ADFFA09C-3BFF-4F45-B216-5196054A6B31}" type="presParOf" srcId="{5C032050-402F-46D0-B0DD-DD4C8DFFE041}" destId="{EB90A5C8-1B87-4CA5-9481-8B730946B8D7}" srcOrd="0" destOrd="0" presId="urn:microsoft.com/office/officeart/2008/layout/VerticalCurvedList"/>
    <dgm:cxn modelId="{EE57972C-57B3-46B6-ACC6-549FEA1623D2}" type="presParOf" srcId="{0B3CF96D-7B88-4069-A151-107227835000}" destId="{B57F3D88-7CF9-4269-8D89-807D04C932AF}" srcOrd="7" destOrd="0" presId="urn:microsoft.com/office/officeart/2008/layout/VerticalCurvedList"/>
    <dgm:cxn modelId="{49C60C80-104C-40C4-81FF-DE683D98E420}" type="presParOf" srcId="{0B3CF96D-7B88-4069-A151-107227835000}" destId="{3107A76D-29B9-479A-A2E1-00159F5646E8}" srcOrd="8" destOrd="0" presId="urn:microsoft.com/office/officeart/2008/layout/VerticalCurvedList"/>
    <dgm:cxn modelId="{DBB86B1D-1EE7-4BE9-9778-6E8812B67FEE}" type="presParOf" srcId="{3107A76D-29B9-479A-A2E1-00159F5646E8}" destId="{AC6BDA3C-9E68-4A39-8603-648565DF74B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16F4608-07BB-49D7-B6B3-4D0C651CF9BD}" type="doc">
      <dgm:prSet loTypeId="urn:microsoft.com/office/officeart/2005/8/layout/radial5" loCatId="cycle" qsTypeId="urn:microsoft.com/office/officeart/2005/8/quickstyle/3d5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64CA347-0BDC-4410-A953-3CDFF50FD65C}">
      <dgm:prSet phldrT="[Текст]"/>
      <dgm:spPr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</a:gradFill>
      </dgm:spPr>
      <dgm:t>
        <a:bodyPr/>
        <a:lstStyle/>
        <a:p>
          <a:r>
            <a:rPr lang="ru-RU" dirty="0" smtClean="0">
              <a:latin typeface="Book Antiqua" panose="02040602050305030304" pitchFamily="18" charset="0"/>
            </a:rPr>
            <a:t>ДОГОВОР О ЕАЭС: РАЗДЕЛ </a:t>
          </a:r>
          <a:r>
            <a:rPr lang="en-US" dirty="0" smtClean="0">
              <a:latin typeface="Book Antiqua" panose="02040602050305030304" pitchFamily="18" charset="0"/>
            </a:rPr>
            <a:t>XVI</a:t>
          </a:r>
          <a:endParaRPr lang="ru-RU" dirty="0">
            <a:latin typeface="Book Antiqua" panose="02040602050305030304" pitchFamily="18" charset="0"/>
          </a:endParaRPr>
        </a:p>
      </dgm:t>
    </dgm:pt>
    <dgm:pt modelId="{F2640C03-643E-4FE0-9261-0DA5857B1D64}" type="parTrans" cxnId="{22268E03-0BBA-4CAA-8001-0012AFCB1D0E}">
      <dgm:prSet/>
      <dgm:spPr/>
      <dgm:t>
        <a:bodyPr/>
        <a:lstStyle/>
        <a:p>
          <a:endParaRPr lang="ru-RU"/>
        </a:p>
      </dgm:t>
    </dgm:pt>
    <dgm:pt modelId="{553708A8-2A8D-4D34-AEA4-32C1D897ED27}" type="sibTrans" cxnId="{22268E03-0BBA-4CAA-8001-0012AFCB1D0E}">
      <dgm:prSet/>
      <dgm:spPr/>
      <dgm:t>
        <a:bodyPr/>
        <a:lstStyle/>
        <a:p>
          <a:endParaRPr lang="ru-RU"/>
        </a:p>
      </dgm:t>
    </dgm:pt>
    <dgm:pt modelId="{92F6D31D-ACCE-474B-88D5-3ABB9813130A}">
      <dgm:prSet phldrT="[Текст]" custT="1"/>
      <dgm:spPr>
        <a:solidFill>
          <a:srgbClr val="0099CC"/>
        </a:solidFill>
      </dgm:spPr>
      <dgm:t>
        <a:bodyPr/>
        <a:lstStyle/>
        <a:p>
          <a:r>
            <a:rPr lang="ru-RU" sz="1100" dirty="0" smtClean="0">
              <a:solidFill>
                <a:schemeClr val="tx1"/>
              </a:solidFill>
              <a:latin typeface="Book Antiqua" panose="02040602050305030304" pitchFamily="18" charset="0"/>
            </a:rPr>
            <a:t>обеспечение гарантированной и эффективной защиты прав и законных интересов потребителей</a:t>
          </a:r>
          <a:r>
            <a:rPr lang="ru-RU" sz="1100" b="1" i="1" dirty="0" smtClean="0">
              <a:solidFill>
                <a:schemeClr val="tx1"/>
              </a:solidFill>
              <a:latin typeface="Book Antiqua" panose="02040602050305030304" pitchFamily="18" charset="0"/>
            </a:rPr>
            <a:t> </a:t>
          </a:r>
          <a:r>
            <a:rPr lang="ru-RU" sz="1100" dirty="0" smtClean="0">
              <a:solidFill>
                <a:schemeClr val="tx1"/>
              </a:solidFill>
              <a:latin typeface="Book Antiqua" panose="02040602050305030304" pitchFamily="18" charset="0"/>
            </a:rPr>
            <a:t>финансовых услуг </a:t>
          </a:r>
          <a:endParaRPr lang="ru-RU" sz="1100" dirty="0">
            <a:solidFill>
              <a:schemeClr val="tx1"/>
            </a:solidFill>
            <a:latin typeface="Book Antiqua" panose="02040602050305030304" pitchFamily="18" charset="0"/>
          </a:endParaRPr>
        </a:p>
      </dgm:t>
    </dgm:pt>
    <dgm:pt modelId="{56C800C3-504A-4312-AE41-1FBFCC211277}" type="parTrans" cxnId="{20B0F3D2-EA84-461C-95F9-4ABEBC98AE84}">
      <dgm:prSet/>
      <dgm:spPr/>
      <dgm:t>
        <a:bodyPr/>
        <a:lstStyle/>
        <a:p>
          <a:endParaRPr lang="ru-RU"/>
        </a:p>
      </dgm:t>
    </dgm:pt>
    <dgm:pt modelId="{EF4F8AE3-CD3A-468B-AA26-39DD6B74F29E}" type="sibTrans" cxnId="{20B0F3D2-EA84-461C-95F9-4ABEBC98AE84}">
      <dgm:prSet/>
      <dgm:spPr/>
      <dgm:t>
        <a:bodyPr/>
        <a:lstStyle/>
        <a:p>
          <a:endParaRPr lang="ru-RU"/>
        </a:p>
      </dgm:t>
    </dgm:pt>
    <dgm:pt modelId="{AAF02D6C-1508-4638-A3FD-FF5CFA55D14A}">
      <dgm:prSet phldrT="[Текст]" custT="1"/>
      <dgm:spPr>
        <a:solidFill>
          <a:srgbClr val="0099CC"/>
        </a:solidFill>
      </dgm:spPr>
      <dgm:t>
        <a:bodyPr/>
        <a:lstStyle/>
        <a:p>
          <a:r>
            <a:rPr lang="ru-RU" sz="1100" dirty="0" smtClean="0">
              <a:solidFill>
                <a:schemeClr val="tx1"/>
              </a:solidFill>
              <a:latin typeface="Book Antiqua" panose="02040602050305030304" pitchFamily="18" charset="0"/>
            </a:rPr>
            <a:t>создание условий для взаимного признания лицензий и разрешений</a:t>
          </a:r>
          <a:endParaRPr lang="ru-RU" sz="1100" dirty="0">
            <a:solidFill>
              <a:schemeClr val="tx1"/>
            </a:solidFill>
            <a:latin typeface="Book Antiqua" panose="02040602050305030304" pitchFamily="18" charset="0"/>
          </a:endParaRPr>
        </a:p>
      </dgm:t>
    </dgm:pt>
    <dgm:pt modelId="{808EF67D-87DA-4229-A21D-93A3FF482503}" type="parTrans" cxnId="{E67ADDF7-0CCC-4736-B3CA-53298FD385E3}">
      <dgm:prSet/>
      <dgm:spPr/>
      <dgm:t>
        <a:bodyPr/>
        <a:lstStyle/>
        <a:p>
          <a:endParaRPr lang="ru-RU"/>
        </a:p>
      </dgm:t>
    </dgm:pt>
    <dgm:pt modelId="{4F07CB25-60A7-4496-8029-EE7C582FA8D2}" type="sibTrans" cxnId="{E67ADDF7-0CCC-4736-B3CA-53298FD385E3}">
      <dgm:prSet/>
      <dgm:spPr/>
      <dgm:t>
        <a:bodyPr/>
        <a:lstStyle/>
        <a:p>
          <a:endParaRPr lang="ru-RU"/>
        </a:p>
      </dgm:t>
    </dgm:pt>
    <dgm:pt modelId="{2A837EA4-0A7D-44C5-A6C1-CC2A0AFFFA6F}">
      <dgm:prSet phldrT="[Текст]" custT="1"/>
      <dgm:spPr>
        <a:solidFill>
          <a:srgbClr val="0099CC"/>
        </a:solidFill>
      </dgm:spPr>
      <dgm:t>
        <a:bodyPr/>
        <a:lstStyle/>
        <a:p>
          <a:r>
            <a:rPr lang="ru-RU" sz="1100" dirty="0" smtClean="0">
              <a:solidFill>
                <a:schemeClr val="tx1"/>
              </a:solidFill>
              <a:latin typeface="Book Antiqua" panose="02040602050305030304" pitchFamily="18" charset="0"/>
            </a:rPr>
            <a:t>определение требований и условий, предъявляемых к банковской,  страховой, </a:t>
          </a:r>
          <a:r>
            <a:rPr lang="ru-RU" sz="1100" dirty="0" err="1" smtClean="0">
              <a:solidFill>
                <a:schemeClr val="tx1"/>
              </a:solidFill>
              <a:latin typeface="Book Antiqua" panose="02040602050305030304" pitchFamily="18" charset="0"/>
            </a:rPr>
            <a:t>рцб</a:t>
          </a:r>
          <a:r>
            <a:rPr lang="ru-RU" sz="1100" dirty="0" smtClean="0">
              <a:solidFill>
                <a:schemeClr val="tx1"/>
              </a:solidFill>
              <a:latin typeface="Book Antiqua" panose="02040602050305030304" pitchFamily="18" charset="0"/>
            </a:rPr>
            <a:t> деятельности (пруденциальных требований)</a:t>
          </a:r>
          <a:endParaRPr lang="ru-RU" sz="1100" dirty="0">
            <a:solidFill>
              <a:schemeClr val="tx1"/>
            </a:solidFill>
            <a:latin typeface="Book Antiqua" panose="02040602050305030304" pitchFamily="18" charset="0"/>
          </a:endParaRPr>
        </a:p>
      </dgm:t>
    </dgm:pt>
    <dgm:pt modelId="{12CD33F4-4A7D-4C26-9B7A-9C06B136504B}" type="parTrans" cxnId="{53E95A26-8766-4F20-B607-0A930FA69898}">
      <dgm:prSet/>
      <dgm:spPr/>
      <dgm:t>
        <a:bodyPr/>
        <a:lstStyle/>
        <a:p>
          <a:endParaRPr lang="ru-RU"/>
        </a:p>
      </dgm:t>
    </dgm:pt>
    <dgm:pt modelId="{E7F19E6F-75AA-454C-AE72-F15C242C54B6}" type="sibTrans" cxnId="{53E95A26-8766-4F20-B607-0A930FA69898}">
      <dgm:prSet/>
      <dgm:spPr/>
      <dgm:t>
        <a:bodyPr/>
        <a:lstStyle/>
        <a:p>
          <a:endParaRPr lang="ru-RU"/>
        </a:p>
      </dgm:t>
    </dgm:pt>
    <dgm:pt modelId="{DCA9A0A8-8351-4C7B-A54F-6B5B2F7F652B}">
      <dgm:prSet phldrT="[Текст]" custT="1"/>
      <dgm:spPr>
        <a:solidFill>
          <a:srgbClr val="0099CC"/>
        </a:solidFill>
      </dgm:spPr>
      <dgm:t>
        <a:bodyPr/>
        <a:lstStyle/>
        <a:p>
          <a:r>
            <a:rPr lang="ru-RU" sz="1100" dirty="0" smtClean="0">
              <a:solidFill>
                <a:schemeClr val="tx1"/>
              </a:solidFill>
              <a:latin typeface="Book Antiqua" panose="02040602050305030304" pitchFamily="18" charset="0"/>
            </a:rPr>
            <a:t>определение подходов к регулированию рисков на финансовых рынках государств-членов в соответствии с международными стандартами</a:t>
          </a:r>
          <a:endParaRPr lang="ru-RU" sz="1100" dirty="0">
            <a:solidFill>
              <a:schemeClr val="tx1"/>
            </a:solidFill>
            <a:latin typeface="Book Antiqua" panose="02040602050305030304" pitchFamily="18" charset="0"/>
          </a:endParaRPr>
        </a:p>
      </dgm:t>
    </dgm:pt>
    <dgm:pt modelId="{3B8F912E-0BB0-4DE0-8BBD-BF4FB0BCD7C5}" type="parTrans" cxnId="{5033FA2E-C209-421D-820A-D6A42EA4D48A}">
      <dgm:prSet/>
      <dgm:spPr/>
      <dgm:t>
        <a:bodyPr/>
        <a:lstStyle/>
        <a:p>
          <a:endParaRPr lang="ru-RU"/>
        </a:p>
      </dgm:t>
    </dgm:pt>
    <dgm:pt modelId="{3700E265-1E77-4BFE-BEBC-88179AD5B643}" type="sibTrans" cxnId="{5033FA2E-C209-421D-820A-D6A42EA4D48A}">
      <dgm:prSet/>
      <dgm:spPr/>
      <dgm:t>
        <a:bodyPr/>
        <a:lstStyle/>
        <a:p>
          <a:endParaRPr lang="ru-RU"/>
        </a:p>
      </dgm:t>
    </dgm:pt>
    <dgm:pt modelId="{46089917-4508-43D2-AA80-7B7EE4EA9B88}">
      <dgm:prSet custT="1"/>
      <dgm:spPr>
        <a:solidFill>
          <a:srgbClr val="0099CC"/>
        </a:solidFill>
      </dgm:spPr>
      <dgm:t>
        <a:bodyPr/>
        <a:lstStyle/>
        <a:p>
          <a:r>
            <a:rPr lang="ru-RU" sz="1100" dirty="0" smtClean="0">
              <a:solidFill>
                <a:schemeClr val="tx1"/>
              </a:solidFill>
              <a:latin typeface="Book Antiqua" panose="02040602050305030304" pitchFamily="18" charset="0"/>
            </a:rPr>
            <a:t>углубление экономической интеграции государств-членов с целью создания общего</a:t>
          </a:r>
          <a:r>
            <a:rPr lang="ru-RU" sz="1100" b="1" i="1" dirty="0" smtClean="0">
              <a:solidFill>
                <a:schemeClr val="tx1"/>
              </a:solidFill>
              <a:latin typeface="Book Antiqua" panose="02040602050305030304" pitchFamily="18" charset="0"/>
            </a:rPr>
            <a:t> </a:t>
          </a:r>
          <a:r>
            <a:rPr lang="ru-RU" sz="1100" dirty="0" smtClean="0">
              <a:solidFill>
                <a:schemeClr val="tx1"/>
              </a:solidFill>
              <a:latin typeface="Book Antiqua" panose="02040602050305030304" pitchFamily="18" charset="0"/>
            </a:rPr>
            <a:t>финансового рынка и обеспечения недискриминационного доступа на ФР государств-членов</a:t>
          </a:r>
        </a:p>
      </dgm:t>
    </dgm:pt>
    <dgm:pt modelId="{D13338E6-00A6-489B-95C4-8870C221C0B8}" type="parTrans" cxnId="{97380AE9-2BFD-4DA6-8415-5AEAEDEE49B5}">
      <dgm:prSet/>
      <dgm:spPr/>
      <dgm:t>
        <a:bodyPr/>
        <a:lstStyle/>
        <a:p>
          <a:endParaRPr lang="ru-RU"/>
        </a:p>
      </dgm:t>
    </dgm:pt>
    <dgm:pt modelId="{67269975-DAFD-45DD-A103-A0B56B9B4B09}" type="sibTrans" cxnId="{97380AE9-2BFD-4DA6-8415-5AEAEDEE49B5}">
      <dgm:prSet/>
      <dgm:spPr/>
      <dgm:t>
        <a:bodyPr/>
        <a:lstStyle/>
        <a:p>
          <a:endParaRPr lang="ru-RU"/>
        </a:p>
      </dgm:t>
    </dgm:pt>
    <dgm:pt modelId="{9C50B00C-F5B6-49C8-9DD0-265374F56A5A}">
      <dgm:prSet custT="1"/>
      <dgm:spPr>
        <a:solidFill>
          <a:srgbClr val="0099CC"/>
        </a:solidFill>
      </dgm:spPr>
      <dgm:t>
        <a:bodyPr/>
        <a:lstStyle/>
        <a:p>
          <a:r>
            <a:rPr lang="ru-RU" sz="1100" dirty="0" smtClean="0">
              <a:solidFill>
                <a:schemeClr val="tx1"/>
              </a:solidFill>
              <a:latin typeface="Book Antiqua" panose="02040602050305030304" pitchFamily="18" charset="0"/>
            </a:rPr>
            <a:t>обеспечение транспарентности деятельности участников финансового рынка</a:t>
          </a:r>
          <a:endParaRPr lang="ru-RU" sz="600" dirty="0">
            <a:solidFill>
              <a:schemeClr val="tx1"/>
            </a:solidFill>
          </a:endParaRPr>
        </a:p>
      </dgm:t>
    </dgm:pt>
    <dgm:pt modelId="{83DA7C0F-2D2A-4AB0-9172-3A95143914B2}" type="parTrans" cxnId="{EBC82564-F834-4FDE-B690-EF016CEE4042}">
      <dgm:prSet/>
      <dgm:spPr/>
      <dgm:t>
        <a:bodyPr/>
        <a:lstStyle/>
        <a:p>
          <a:endParaRPr lang="ru-RU"/>
        </a:p>
      </dgm:t>
    </dgm:pt>
    <dgm:pt modelId="{D71160E5-17C7-45AA-9DA3-7E555F0C2F5D}" type="sibTrans" cxnId="{EBC82564-F834-4FDE-B690-EF016CEE4042}">
      <dgm:prSet/>
      <dgm:spPr/>
      <dgm:t>
        <a:bodyPr/>
        <a:lstStyle/>
        <a:p>
          <a:endParaRPr lang="ru-RU"/>
        </a:p>
      </dgm:t>
    </dgm:pt>
    <dgm:pt modelId="{DA161F25-388C-4028-BE99-5965934FCB55}">
      <dgm:prSet custT="1"/>
      <dgm:spPr>
        <a:solidFill>
          <a:srgbClr val="0099CC"/>
        </a:solidFill>
      </dgm:spPr>
      <dgm:t>
        <a:bodyPr/>
        <a:lstStyle/>
        <a:p>
          <a:r>
            <a:rPr lang="ru-RU" sz="1100" dirty="0" smtClean="0">
              <a:solidFill>
                <a:schemeClr val="tx1"/>
              </a:solidFill>
              <a:latin typeface="Book Antiqua" panose="02040602050305030304" pitchFamily="18" charset="0"/>
            </a:rPr>
            <a:t>определение порядка осуществления надзора за деятельностью участников финансового рынка</a:t>
          </a:r>
          <a:endParaRPr lang="ru-RU" sz="1100" dirty="0">
            <a:solidFill>
              <a:schemeClr val="tx1"/>
            </a:solidFill>
            <a:latin typeface="Book Antiqua" panose="02040602050305030304" pitchFamily="18" charset="0"/>
          </a:endParaRPr>
        </a:p>
      </dgm:t>
    </dgm:pt>
    <dgm:pt modelId="{9794AD39-17F0-475E-A978-730AF3734AE6}" type="parTrans" cxnId="{F2FCC5BB-13BF-423A-B604-F835D7883F95}">
      <dgm:prSet/>
      <dgm:spPr/>
      <dgm:t>
        <a:bodyPr/>
        <a:lstStyle/>
        <a:p>
          <a:endParaRPr lang="ru-RU"/>
        </a:p>
      </dgm:t>
    </dgm:pt>
    <dgm:pt modelId="{01D260FD-8D39-4ECA-8735-BB44588658BF}" type="sibTrans" cxnId="{F2FCC5BB-13BF-423A-B604-F835D7883F95}">
      <dgm:prSet/>
      <dgm:spPr/>
      <dgm:t>
        <a:bodyPr/>
        <a:lstStyle/>
        <a:p>
          <a:endParaRPr lang="ru-RU"/>
        </a:p>
      </dgm:t>
    </dgm:pt>
    <dgm:pt modelId="{CAFB2184-EC15-488F-BCB3-96D001314BB8}" type="pres">
      <dgm:prSet presAssocID="{416F4608-07BB-49D7-B6B3-4D0C651CF9BD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492F7DE-73FF-431E-A248-7C7D048B3432}" type="pres">
      <dgm:prSet presAssocID="{A64CA347-0BDC-4410-A953-3CDFF50FD65C}" presName="centerShape" presStyleLbl="node0" presStyleIdx="0" presStyleCnt="1" custScaleX="126765" custScaleY="122762" custLinFactNeighborX="-1133" custLinFactNeighborY="-3104"/>
      <dgm:spPr/>
      <dgm:t>
        <a:bodyPr/>
        <a:lstStyle/>
        <a:p>
          <a:endParaRPr lang="ru-RU"/>
        </a:p>
      </dgm:t>
    </dgm:pt>
    <dgm:pt modelId="{8347B773-87D3-4D14-83EC-FE79A41C025D}" type="pres">
      <dgm:prSet presAssocID="{56C800C3-504A-4312-AE41-1FBFCC211277}" presName="parTrans" presStyleLbl="sibTrans2D1" presStyleIdx="0" presStyleCnt="7" custLinFactNeighborX="50298" custLinFactNeighborY="-1079"/>
      <dgm:spPr/>
      <dgm:t>
        <a:bodyPr/>
        <a:lstStyle/>
        <a:p>
          <a:endParaRPr lang="ru-RU"/>
        </a:p>
      </dgm:t>
    </dgm:pt>
    <dgm:pt modelId="{8950C4AC-0C6A-462D-BBDE-B8119985EEF7}" type="pres">
      <dgm:prSet presAssocID="{56C800C3-504A-4312-AE41-1FBFCC211277}" presName="connectorText" presStyleLbl="sibTrans2D1" presStyleIdx="0" presStyleCnt="7"/>
      <dgm:spPr/>
      <dgm:t>
        <a:bodyPr/>
        <a:lstStyle/>
        <a:p>
          <a:endParaRPr lang="ru-RU"/>
        </a:p>
      </dgm:t>
    </dgm:pt>
    <dgm:pt modelId="{FA704D77-E79D-4D13-8D92-DCF265207CBF}" type="pres">
      <dgm:prSet presAssocID="{92F6D31D-ACCE-474B-88D5-3ABB9813130A}" presName="node" presStyleLbl="node1" presStyleIdx="0" presStyleCnt="7" custScaleX="166115" custScaleY="105289" custRadScaleRad="101057" custRadScaleInc="2367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E8A0DA5-1E05-4D2E-B8E3-17F587A096C6}" type="pres">
      <dgm:prSet presAssocID="{808EF67D-87DA-4229-A21D-93A3FF482503}" presName="parTrans" presStyleLbl="sibTrans2D1" presStyleIdx="1" presStyleCnt="7"/>
      <dgm:spPr/>
      <dgm:t>
        <a:bodyPr/>
        <a:lstStyle/>
        <a:p>
          <a:endParaRPr lang="ru-RU"/>
        </a:p>
      </dgm:t>
    </dgm:pt>
    <dgm:pt modelId="{EBCE3BA6-4E8E-4474-BCF3-AD1571631544}" type="pres">
      <dgm:prSet presAssocID="{808EF67D-87DA-4229-A21D-93A3FF482503}" presName="connectorText" presStyleLbl="sibTrans2D1" presStyleIdx="1" presStyleCnt="7"/>
      <dgm:spPr/>
      <dgm:t>
        <a:bodyPr/>
        <a:lstStyle/>
        <a:p>
          <a:endParaRPr lang="ru-RU"/>
        </a:p>
      </dgm:t>
    </dgm:pt>
    <dgm:pt modelId="{75220C0D-BA3C-4E78-B3EA-CC9BE0A8833C}" type="pres">
      <dgm:prSet presAssocID="{AAF02D6C-1508-4638-A3FD-FF5CFA55D14A}" presName="node" presStyleLbl="node1" presStyleIdx="1" presStyleCnt="7" custScaleX="129547" custScaleY="94054" custRadScaleRad="107078" custRadScaleInc="1632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44B595B-69BF-4FC0-B29F-5CCB6FFEAADD}" type="pres">
      <dgm:prSet presAssocID="{12CD33F4-4A7D-4C26-9B7A-9C06B136504B}" presName="parTrans" presStyleLbl="sibTrans2D1" presStyleIdx="2" presStyleCnt="7"/>
      <dgm:spPr/>
      <dgm:t>
        <a:bodyPr/>
        <a:lstStyle/>
        <a:p>
          <a:endParaRPr lang="ru-RU"/>
        </a:p>
      </dgm:t>
    </dgm:pt>
    <dgm:pt modelId="{9F1D02DF-6E3A-4ED6-8A37-412341C16354}" type="pres">
      <dgm:prSet presAssocID="{12CD33F4-4A7D-4C26-9B7A-9C06B136504B}" presName="connectorText" presStyleLbl="sibTrans2D1" presStyleIdx="2" presStyleCnt="7"/>
      <dgm:spPr/>
      <dgm:t>
        <a:bodyPr/>
        <a:lstStyle/>
        <a:p>
          <a:endParaRPr lang="ru-RU"/>
        </a:p>
      </dgm:t>
    </dgm:pt>
    <dgm:pt modelId="{6E0FCB20-4EEB-40D8-8906-E5B16181C30C}" type="pres">
      <dgm:prSet presAssocID="{2A837EA4-0A7D-44C5-A6C1-CC2A0AFFFA6F}" presName="node" presStyleLbl="node1" presStyleIdx="2" presStyleCnt="7" custScaleX="148654" custScaleY="157508" custRadScaleRad="127523" custRadScaleInc="-2617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331D4E2-7835-4B7E-AC77-8B4B41CF345A}" type="pres">
      <dgm:prSet presAssocID="{83DA7C0F-2D2A-4AB0-9172-3A95143914B2}" presName="parTrans" presStyleLbl="sibTrans2D1" presStyleIdx="3" presStyleCnt="7"/>
      <dgm:spPr/>
      <dgm:t>
        <a:bodyPr/>
        <a:lstStyle/>
        <a:p>
          <a:endParaRPr lang="ru-RU"/>
        </a:p>
      </dgm:t>
    </dgm:pt>
    <dgm:pt modelId="{3F8A9D28-11BC-4DC6-AF8E-ED09C1A936C8}" type="pres">
      <dgm:prSet presAssocID="{83DA7C0F-2D2A-4AB0-9172-3A95143914B2}" presName="connectorText" presStyleLbl="sibTrans2D1" presStyleIdx="3" presStyleCnt="7"/>
      <dgm:spPr/>
      <dgm:t>
        <a:bodyPr/>
        <a:lstStyle/>
        <a:p>
          <a:endParaRPr lang="ru-RU"/>
        </a:p>
      </dgm:t>
    </dgm:pt>
    <dgm:pt modelId="{7D82F050-1B2C-4B59-BC99-E951E4B921C5}" type="pres">
      <dgm:prSet presAssocID="{9C50B00C-F5B6-49C8-9DD0-265374F56A5A}" presName="node" presStyleLbl="node1" presStyleIdx="3" presStyleCnt="7" custScaleX="172921" custScaleY="119743" custRadScaleRad="103125" custRadScaleInc="-3753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4D9B525-DC72-4438-A740-7A21EE582E3B}" type="pres">
      <dgm:prSet presAssocID="{9794AD39-17F0-475E-A978-730AF3734AE6}" presName="parTrans" presStyleLbl="sibTrans2D1" presStyleIdx="4" presStyleCnt="7"/>
      <dgm:spPr/>
      <dgm:t>
        <a:bodyPr/>
        <a:lstStyle/>
        <a:p>
          <a:endParaRPr lang="ru-RU"/>
        </a:p>
      </dgm:t>
    </dgm:pt>
    <dgm:pt modelId="{7933359C-05C7-43A8-9605-59D28CBD4402}" type="pres">
      <dgm:prSet presAssocID="{9794AD39-17F0-475E-A978-730AF3734AE6}" presName="connectorText" presStyleLbl="sibTrans2D1" presStyleIdx="4" presStyleCnt="7"/>
      <dgm:spPr/>
      <dgm:t>
        <a:bodyPr/>
        <a:lstStyle/>
        <a:p>
          <a:endParaRPr lang="ru-RU"/>
        </a:p>
      </dgm:t>
    </dgm:pt>
    <dgm:pt modelId="{E7B81B6D-ACDC-4C6E-82AA-F94383AF9CC8}" type="pres">
      <dgm:prSet presAssocID="{DA161F25-388C-4028-BE99-5965934FCB55}" presName="node" presStyleLbl="node1" presStyleIdx="4" presStyleCnt="7" custScaleX="180387" custScaleY="115479" custRadScaleRad="101071" custRadScaleInc="3585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AE4B27-8F1B-4075-A0CE-AF4D2511FFB1}" type="pres">
      <dgm:prSet presAssocID="{3B8F912E-0BB0-4DE0-8BBD-BF4FB0BCD7C5}" presName="parTrans" presStyleLbl="sibTrans2D1" presStyleIdx="5" presStyleCnt="7"/>
      <dgm:spPr/>
      <dgm:t>
        <a:bodyPr/>
        <a:lstStyle/>
        <a:p>
          <a:endParaRPr lang="ru-RU"/>
        </a:p>
      </dgm:t>
    </dgm:pt>
    <dgm:pt modelId="{E3F18194-FE7E-4A67-B6AE-653EF70BEDA5}" type="pres">
      <dgm:prSet presAssocID="{3B8F912E-0BB0-4DE0-8BBD-BF4FB0BCD7C5}" presName="connectorText" presStyleLbl="sibTrans2D1" presStyleIdx="5" presStyleCnt="7"/>
      <dgm:spPr/>
      <dgm:t>
        <a:bodyPr/>
        <a:lstStyle/>
        <a:p>
          <a:endParaRPr lang="ru-RU"/>
        </a:p>
      </dgm:t>
    </dgm:pt>
    <dgm:pt modelId="{6CEA1BB9-EE9D-494B-87E1-3B9FE9D9563F}" type="pres">
      <dgm:prSet presAssocID="{DCA9A0A8-8351-4C7B-A54F-6B5B2F7F652B}" presName="node" presStyleLbl="node1" presStyleIdx="5" presStyleCnt="7" custScaleX="171376" custScaleY="113076" custRadScaleRad="119216" custRadScaleInc="2812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976C174-FE16-45BA-9334-82CB8FFB7318}" type="pres">
      <dgm:prSet presAssocID="{D13338E6-00A6-489B-95C4-8870C221C0B8}" presName="parTrans" presStyleLbl="sibTrans2D1" presStyleIdx="6" presStyleCnt="7"/>
      <dgm:spPr/>
      <dgm:t>
        <a:bodyPr/>
        <a:lstStyle/>
        <a:p>
          <a:endParaRPr lang="ru-RU"/>
        </a:p>
      </dgm:t>
    </dgm:pt>
    <dgm:pt modelId="{30E10E9D-F159-4561-AF47-A0BB865BB205}" type="pres">
      <dgm:prSet presAssocID="{D13338E6-00A6-489B-95C4-8870C221C0B8}" presName="connectorText" presStyleLbl="sibTrans2D1" presStyleIdx="6" presStyleCnt="7"/>
      <dgm:spPr/>
      <dgm:t>
        <a:bodyPr/>
        <a:lstStyle/>
        <a:p>
          <a:endParaRPr lang="ru-RU"/>
        </a:p>
      </dgm:t>
    </dgm:pt>
    <dgm:pt modelId="{4BBC2333-E37F-4D57-9A7E-3627C386AA86}" type="pres">
      <dgm:prSet presAssocID="{46089917-4508-43D2-AA80-7B7EE4EA9B88}" presName="node" presStyleLbl="node1" presStyleIdx="6" presStyleCnt="7" custScaleX="221788" custScaleY="132122" custRadScaleRad="131983" custRadScaleInc="-793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3E95A26-8766-4F20-B607-0A930FA69898}" srcId="{A64CA347-0BDC-4410-A953-3CDFF50FD65C}" destId="{2A837EA4-0A7D-44C5-A6C1-CC2A0AFFFA6F}" srcOrd="2" destOrd="0" parTransId="{12CD33F4-4A7D-4C26-9B7A-9C06B136504B}" sibTransId="{E7F19E6F-75AA-454C-AE72-F15C242C54B6}"/>
    <dgm:cxn modelId="{20B0F3D2-EA84-461C-95F9-4ABEBC98AE84}" srcId="{A64CA347-0BDC-4410-A953-3CDFF50FD65C}" destId="{92F6D31D-ACCE-474B-88D5-3ABB9813130A}" srcOrd="0" destOrd="0" parTransId="{56C800C3-504A-4312-AE41-1FBFCC211277}" sibTransId="{EF4F8AE3-CD3A-468B-AA26-39DD6B74F29E}"/>
    <dgm:cxn modelId="{EF8237C7-43A2-417C-A683-6CA560AC0F4C}" type="presOf" srcId="{83DA7C0F-2D2A-4AB0-9172-3A95143914B2}" destId="{D331D4E2-7835-4B7E-AC77-8B4B41CF345A}" srcOrd="0" destOrd="0" presId="urn:microsoft.com/office/officeart/2005/8/layout/radial5"/>
    <dgm:cxn modelId="{F90EA176-031F-4B77-A7A3-C4ADBD6B74D5}" type="presOf" srcId="{416F4608-07BB-49D7-B6B3-4D0C651CF9BD}" destId="{CAFB2184-EC15-488F-BCB3-96D001314BB8}" srcOrd="0" destOrd="0" presId="urn:microsoft.com/office/officeart/2005/8/layout/radial5"/>
    <dgm:cxn modelId="{E5761C6F-7F1E-4101-8389-FA2387FB06DD}" type="presOf" srcId="{DA161F25-388C-4028-BE99-5965934FCB55}" destId="{E7B81B6D-ACDC-4C6E-82AA-F94383AF9CC8}" srcOrd="0" destOrd="0" presId="urn:microsoft.com/office/officeart/2005/8/layout/radial5"/>
    <dgm:cxn modelId="{8B83A7B3-7C04-46B4-8F60-88E4DE1EF510}" type="presOf" srcId="{3B8F912E-0BB0-4DE0-8BBD-BF4FB0BCD7C5}" destId="{DCAE4B27-8F1B-4075-A0CE-AF4D2511FFB1}" srcOrd="0" destOrd="0" presId="urn:microsoft.com/office/officeart/2005/8/layout/radial5"/>
    <dgm:cxn modelId="{D99DE170-7201-4E80-847A-6E27026DEA48}" type="presOf" srcId="{3B8F912E-0BB0-4DE0-8BBD-BF4FB0BCD7C5}" destId="{E3F18194-FE7E-4A67-B6AE-653EF70BEDA5}" srcOrd="1" destOrd="0" presId="urn:microsoft.com/office/officeart/2005/8/layout/radial5"/>
    <dgm:cxn modelId="{25F8A068-A286-494B-B4DE-23F3490A66DC}" type="presOf" srcId="{808EF67D-87DA-4229-A21D-93A3FF482503}" destId="{EBCE3BA6-4E8E-4474-BCF3-AD1571631544}" srcOrd="1" destOrd="0" presId="urn:microsoft.com/office/officeart/2005/8/layout/radial5"/>
    <dgm:cxn modelId="{2F5A7012-BE46-480C-9EB3-5AF6551E431C}" type="presOf" srcId="{83DA7C0F-2D2A-4AB0-9172-3A95143914B2}" destId="{3F8A9D28-11BC-4DC6-AF8E-ED09C1A936C8}" srcOrd="1" destOrd="0" presId="urn:microsoft.com/office/officeart/2005/8/layout/radial5"/>
    <dgm:cxn modelId="{4DC50F3A-CC98-4571-8398-940EAE0EDB07}" type="presOf" srcId="{2A837EA4-0A7D-44C5-A6C1-CC2A0AFFFA6F}" destId="{6E0FCB20-4EEB-40D8-8906-E5B16181C30C}" srcOrd="0" destOrd="0" presId="urn:microsoft.com/office/officeart/2005/8/layout/radial5"/>
    <dgm:cxn modelId="{9865C227-B025-4AD1-BD22-6114B3191305}" type="presOf" srcId="{AAF02D6C-1508-4638-A3FD-FF5CFA55D14A}" destId="{75220C0D-BA3C-4E78-B3EA-CC9BE0A8833C}" srcOrd="0" destOrd="0" presId="urn:microsoft.com/office/officeart/2005/8/layout/radial5"/>
    <dgm:cxn modelId="{8DC0E553-E4E1-4D80-8585-9E526819F199}" type="presOf" srcId="{D13338E6-00A6-489B-95C4-8870C221C0B8}" destId="{30E10E9D-F159-4561-AF47-A0BB865BB205}" srcOrd="1" destOrd="0" presId="urn:microsoft.com/office/officeart/2005/8/layout/radial5"/>
    <dgm:cxn modelId="{5469E716-F4F3-4F76-BD53-67CD750C45AD}" type="presOf" srcId="{92F6D31D-ACCE-474B-88D5-3ABB9813130A}" destId="{FA704D77-E79D-4D13-8D92-DCF265207CBF}" srcOrd="0" destOrd="0" presId="urn:microsoft.com/office/officeart/2005/8/layout/radial5"/>
    <dgm:cxn modelId="{D0A5585E-5D26-4177-8C3C-680DDBD6D067}" type="presOf" srcId="{DCA9A0A8-8351-4C7B-A54F-6B5B2F7F652B}" destId="{6CEA1BB9-EE9D-494B-87E1-3B9FE9D9563F}" srcOrd="0" destOrd="0" presId="urn:microsoft.com/office/officeart/2005/8/layout/radial5"/>
    <dgm:cxn modelId="{33000BD0-3328-4C8D-9D80-C2FCFA09CD2A}" type="presOf" srcId="{A64CA347-0BDC-4410-A953-3CDFF50FD65C}" destId="{0492F7DE-73FF-431E-A248-7C7D048B3432}" srcOrd="0" destOrd="0" presId="urn:microsoft.com/office/officeart/2005/8/layout/radial5"/>
    <dgm:cxn modelId="{E3F14983-B9A5-4FCE-942C-30928FC47AAD}" type="presOf" srcId="{D13338E6-00A6-489B-95C4-8870C221C0B8}" destId="{0976C174-FE16-45BA-9334-82CB8FFB7318}" srcOrd="0" destOrd="0" presId="urn:microsoft.com/office/officeart/2005/8/layout/radial5"/>
    <dgm:cxn modelId="{6AD8AFE7-2DEA-4E80-821E-A0739E604FA7}" type="presOf" srcId="{808EF67D-87DA-4229-A21D-93A3FF482503}" destId="{FE8A0DA5-1E05-4D2E-B8E3-17F587A096C6}" srcOrd="0" destOrd="0" presId="urn:microsoft.com/office/officeart/2005/8/layout/radial5"/>
    <dgm:cxn modelId="{6A87261F-C4CF-461D-A112-B1013D6EE248}" type="presOf" srcId="{12CD33F4-4A7D-4C26-9B7A-9C06B136504B}" destId="{644B595B-69BF-4FC0-B29F-5CCB6FFEAADD}" srcOrd="0" destOrd="0" presId="urn:microsoft.com/office/officeart/2005/8/layout/radial5"/>
    <dgm:cxn modelId="{8A422778-A905-4A3B-B254-82332CF4D122}" type="presOf" srcId="{46089917-4508-43D2-AA80-7B7EE4EA9B88}" destId="{4BBC2333-E37F-4D57-9A7E-3627C386AA86}" srcOrd="0" destOrd="0" presId="urn:microsoft.com/office/officeart/2005/8/layout/radial5"/>
    <dgm:cxn modelId="{EBC82564-F834-4FDE-B690-EF016CEE4042}" srcId="{A64CA347-0BDC-4410-A953-3CDFF50FD65C}" destId="{9C50B00C-F5B6-49C8-9DD0-265374F56A5A}" srcOrd="3" destOrd="0" parTransId="{83DA7C0F-2D2A-4AB0-9172-3A95143914B2}" sibTransId="{D71160E5-17C7-45AA-9DA3-7E555F0C2F5D}"/>
    <dgm:cxn modelId="{97380AE9-2BFD-4DA6-8415-5AEAEDEE49B5}" srcId="{A64CA347-0BDC-4410-A953-3CDFF50FD65C}" destId="{46089917-4508-43D2-AA80-7B7EE4EA9B88}" srcOrd="6" destOrd="0" parTransId="{D13338E6-00A6-489B-95C4-8870C221C0B8}" sibTransId="{67269975-DAFD-45DD-A103-A0B56B9B4B09}"/>
    <dgm:cxn modelId="{58C5F390-8D23-42FD-9530-9DDD255F643B}" type="presOf" srcId="{9C50B00C-F5B6-49C8-9DD0-265374F56A5A}" destId="{7D82F050-1B2C-4B59-BC99-E951E4B921C5}" srcOrd="0" destOrd="0" presId="urn:microsoft.com/office/officeart/2005/8/layout/radial5"/>
    <dgm:cxn modelId="{E67ADDF7-0CCC-4736-B3CA-53298FD385E3}" srcId="{A64CA347-0BDC-4410-A953-3CDFF50FD65C}" destId="{AAF02D6C-1508-4638-A3FD-FF5CFA55D14A}" srcOrd="1" destOrd="0" parTransId="{808EF67D-87DA-4229-A21D-93A3FF482503}" sibTransId="{4F07CB25-60A7-4496-8029-EE7C582FA8D2}"/>
    <dgm:cxn modelId="{FD51FB52-F1F3-44C2-ABFC-673B6658058C}" type="presOf" srcId="{56C800C3-504A-4312-AE41-1FBFCC211277}" destId="{8347B773-87D3-4D14-83EC-FE79A41C025D}" srcOrd="0" destOrd="0" presId="urn:microsoft.com/office/officeart/2005/8/layout/radial5"/>
    <dgm:cxn modelId="{BD564794-573D-47FD-84DA-6DB981B25434}" type="presOf" srcId="{9794AD39-17F0-475E-A978-730AF3734AE6}" destId="{54D9B525-DC72-4438-A740-7A21EE582E3B}" srcOrd="0" destOrd="0" presId="urn:microsoft.com/office/officeart/2005/8/layout/radial5"/>
    <dgm:cxn modelId="{96188F22-E764-4A07-A7B8-91D6096048E4}" type="presOf" srcId="{12CD33F4-4A7D-4C26-9B7A-9C06B136504B}" destId="{9F1D02DF-6E3A-4ED6-8A37-412341C16354}" srcOrd="1" destOrd="0" presId="urn:microsoft.com/office/officeart/2005/8/layout/radial5"/>
    <dgm:cxn modelId="{5033FA2E-C209-421D-820A-D6A42EA4D48A}" srcId="{A64CA347-0BDC-4410-A953-3CDFF50FD65C}" destId="{DCA9A0A8-8351-4C7B-A54F-6B5B2F7F652B}" srcOrd="5" destOrd="0" parTransId="{3B8F912E-0BB0-4DE0-8BBD-BF4FB0BCD7C5}" sibTransId="{3700E265-1E77-4BFE-BEBC-88179AD5B643}"/>
    <dgm:cxn modelId="{D327F194-8233-4366-A4C9-1E60D0797E9A}" type="presOf" srcId="{56C800C3-504A-4312-AE41-1FBFCC211277}" destId="{8950C4AC-0C6A-462D-BBDE-B8119985EEF7}" srcOrd="1" destOrd="0" presId="urn:microsoft.com/office/officeart/2005/8/layout/radial5"/>
    <dgm:cxn modelId="{9CB01E00-35A5-4993-A933-344C2E1DE9B6}" type="presOf" srcId="{9794AD39-17F0-475E-A978-730AF3734AE6}" destId="{7933359C-05C7-43A8-9605-59D28CBD4402}" srcOrd="1" destOrd="0" presId="urn:microsoft.com/office/officeart/2005/8/layout/radial5"/>
    <dgm:cxn modelId="{22268E03-0BBA-4CAA-8001-0012AFCB1D0E}" srcId="{416F4608-07BB-49D7-B6B3-4D0C651CF9BD}" destId="{A64CA347-0BDC-4410-A953-3CDFF50FD65C}" srcOrd="0" destOrd="0" parTransId="{F2640C03-643E-4FE0-9261-0DA5857B1D64}" sibTransId="{553708A8-2A8D-4D34-AEA4-32C1D897ED27}"/>
    <dgm:cxn modelId="{F2FCC5BB-13BF-423A-B604-F835D7883F95}" srcId="{A64CA347-0BDC-4410-A953-3CDFF50FD65C}" destId="{DA161F25-388C-4028-BE99-5965934FCB55}" srcOrd="4" destOrd="0" parTransId="{9794AD39-17F0-475E-A978-730AF3734AE6}" sibTransId="{01D260FD-8D39-4ECA-8735-BB44588658BF}"/>
    <dgm:cxn modelId="{610AA4A7-AFFB-480C-A676-C58FEDCF7A50}" type="presParOf" srcId="{CAFB2184-EC15-488F-BCB3-96D001314BB8}" destId="{0492F7DE-73FF-431E-A248-7C7D048B3432}" srcOrd="0" destOrd="0" presId="urn:microsoft.com/office/officeart/2005/8/layout/radial5"/>
    <dgm:cxn modelId="{372EB031-BFB8-4EEA-AE8D-FF6107E6328D}" type="presParOf" srcId="{CAFB2184-EC15-488F-BCB3-96D001314BB8}" destId="{8347B773-87D3-4D14-83EC-FE79A41C025D}" srcOrd="1" destOrd="0" presId="urn:microsoft.com/office/officeart/2005/8/layout/radial5"/>
    <dgm:cxn modelId="{F98C5DE6-5E93-4EBA-9882-553C594EB103}" type="presParOf" srcId="{8347B773-87D3-4D14-83EC-FE79A41C025D}" destId="{8950C4AC-0C6A-462D-BBDE-B8119985EEF7}" srcOrd="0" destOrd="0" presId="urn:microsoft.com/office/officeart/2005/8/layout/radial5"/>
    <dgm:cxn modelId="{770C150B-15C3-497F-AE95-550429D99832}" type="presParOf" srcId="{CAFB2184-EC15-488F-BCB3-96D001314BB8}" destId="{FA704D77-E79D-4D13-8D92-DCF265207CBF}" srcOrd="2" destOrd="0" presId="urn:microsoft.com/office/officeart/2005/8/layout/radial5"/>
    <dgm:cxn modelId="{E52B8C8C-7F7E-4EFA-AA3C-6E7E5E06320F}" type="presParOf" srcId="{CAFB2184-EC15-488F-BCB3-96D001314BB8}" destId="{FE8A0DA5-1E05-4D2E-B8E3-17F587A096C6}" srcOrd="3" destOrd="0" presId="urn:microsoft.com/office/officeart/2005/8/layout/radial5"/>
    <dgm:cxn modelId="{97C66C10-B0C9-4629-9C30-DFF0CE3DC2FC}" type="presParOf" srcId="{FE8A0DA5-1E05-4D2E-B8E3-17F587A096C6}" destId="{EBCE3BA6-4E8E-4474-BCF3-AD1571631544}" srcOrd="0" destOrd="0" presId="urn:microsoft.com/office/officeart/2005/8/layout/radial5"/>
    <dgm:cxn modelId="{B38C47A5-8781-4087-B411-BC363869F57F}" type="presParOf" srcId="{CAFB2184-EC15-488F-BCB3-96D001314BB8}" destId="{75220C0D-BA3C-4E78-B3EA-CC9BE0A8833C}" srcOrd="4" destOrd="0" presId="urn:microsoft.com/office/officeart/2005/8/layout/radial5"/>
    <dgm:cxn modelId="{E357824E-F99E-4FFE-946A-D7BF475B33D8}" type="presParOf" srcId="{CAFB2184-EC15-488F-BCB3-96D001314BB8}" destId="{644B595B-69BF-4FC0-B29F-5CCB6FFEAADD}" srcOrd="5" destOrd="0" presId="urn:microsoft.com/office/officeart/2005/8/layout/radial5"/>
    <dgm:cxn modelId="{47112706-9CDB-4BBA-BD40-478ACB01930E}" type="presParOf" srcId="{644B595B-69BF-4FC0-B29F-5CCB6FFEAADD}" destId="{9F1D02DF-6E3A-4ED6-8A37-412341C16354}" srcOrd="0" destOrd="0" presId="urn:microsoft.com/office/officeart/2005/8/layout/radial5"/>
    <dgm:cxn modelId="{D75E4973-751B-4976-8E51-0EF3D4448AE2}" type="presParOf" srcId="{CAFB2184-EC15-488F-BCB3-96D001314BB8}" destId="{6E0FCB20-4EEB-40D8-8906-E5B16181C30C}" srcOrd="6" destOrd="0" presId="urn:microsoft.com/office/officeart/2005/8/layout/radial5"/>
    <dgm:cxn modelId="{717CEE3C-EA26-442F-B84D-5E988D0325A9}" type="presParOf" srcId="{CAFB2184-EC15-488F-BCB3-96D001314BB8}" destId="{D331D4E2-7835-4B7E-AC77-8B4B41CF345A}" srcOrd="7" destOrd="0" presId="urn:microsoft.com/office/officeart/2005/8/layout/radial5"/>
    <dgm:cxn modelId="{93FF2322-99D9-478E-A661-77927232DA12}" type="presParOf" srcId="{D331D4E2-7835-4B7E-AC77-8B4B41CF345A}" destId="{3F8A9D28-11BC-4DC6-AF8E-ED09C1A936C8}" srcOrd="0" destOrd="0" presId="urn:microsoft.com/office/officeart/2005/8/layout/radial5"/>
    <dgm:cxn modelId="{0AA897F9-3AEA-4B5E-9B5C-DDFB5EBB57DB}" type="presParOf" srcId="{CAFB2184-EC15-488F-BCB3-96D001314BB8}" destId="{7D82F050-1B2C-4B59-BC99-E951E4B921C5}" srcOrd="8" destOrd="0" presId="urn:microsoft.com/office/officeart/2005/8/layout/radial5"/>
    <dgm:cxn modelId="{5355865D-B719-45BB-977A-2943CEFACECB}" type="presParOf" srcId="{CAFB2184-EC15-488F-BCB3-96D001314BB8}" destId="{54D9B525-DC72-4438-A740-7A21EE582E3B}" srcOrd="9" destOrd="0" presId="urn:microsoft.com/office/officeart/2005/8/layout/radial5"/>
    <dgm:cxn modelId="{72D94336-13B2-422C-A63E-4A46C220C7F7}" type="presParOf" srcId="{54D9B525-DC72-4438-A740-7A21EE582E3B}" destId="{7933359C-05C7-43A8-9605-59D28CBD4402}" srcOrd="0" destOrd="0" presId="urn:microsoft.com/office/officeart/2005/8/layout/radial5"/>
    <dgm:cxn modelId="{D7EF994B-FBB6-4718-917A-5AF46F67F53E}" type="presParOf" srcId="{CAFB2184-EC15-488F-BCB3-96D001314BB8}" destId="{E7B81B6D-ACDC-4C6E-82AA-F94383AF9CC8}" srcOrd="10" destOrd="0" presId="urn:microsoft.com/office/officeart/2005/8/layout/radial5"/>
    <dgm:cxn modelId="{0F017969-71DA-4BE2-9D8A-6719C1196181}" type="presParOf" srcId="{CAFB2184-EC15-488F-BCB3-96D001314BB8}" destId="{DCAE4B27-8F1B-4075-A0CE-AF4D2511FFB1}" srcOrd="11" destOrd="0" presId="urn:microsoft.com/office/officeart/2005/8/layout/radial5"/>
    <dgm:cxn modelId="{D6C673F9-5DE9-4BD3-B99B-B617A43141EF}" type="presParOf" srcId="{DCAE4B27-8F1B-4075-A0CE-AF4D2511FFB1}" destId="{E3F18194-FE7E-4A67-B6AE-653EF70BEDA5}" srcOrd="0" destOrd="0" presId="urn:microsoft.com/office/officeart/2005/8/layout/radial5"/>
    <dgm:cxn modelId="{BB3023B7-97AC-4FEC-B5A4-A816BC3974FA}" type="presParOf" srcId="{CAFB2184-EC15-488F-BCB3-96D001314BB8}" destId="{6CEA1BB9-EE9D-494B-87E1-3B9FE9D9563F}" srcOrd="12" destOrd="0" presId="urn:microsoft.com/office/officeart/2005/8/layout/radial5"/>
    <dgm:cxn modelId="{645C89F3-5C91-4062-B25C-9B070BCD6921}" type="presParOf" srcId="{CAFB2184-EC15-488F-BCB3-96D001314BB8}" destId="{0976C174-FE16-45BA-9334-82CB8FFB7318}" srcOrd="13" destOrd="0" presId="urn:microsoft.com/office/officeart/2005/8/layout/radial5"/>
    <dgm:cxn modelId="{6CBE58EA-F857-4DDF-A1DC-4534D63E3D49}" type="presParOf" srcId="{0976C174-FE16-45BA-9334-82CB8FFB7318}" destId="{30E10E9D-F159-4561-AF47-A0BB865BB205}" srcOrd="0" destOrd="0" presId="urn:microsoft.com/office/officeart/2005/8/layout/radial5"/>
    <dgm:cxn modelId="{25EC9369-A5B8-4E93-AA16-367ABB336827}" type="presParOf" srcId="{CAFB2184-EC15-488F-BCB3-96D001314BB8}" destId="{4BBC2333-E37F-4D57-9A7E-3627C386AA86}" srcOrd="14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FF45E2F-E173-4B13-BDC1-51D1D3E5DC45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4E01004-8FD4-419D-BF5F-D75F00113448}">
      <dgm:prSet phldrT="[Текст]" custT="1"/>
      <dgm:spPr>
        <a:gradFill rotWithShape="0">
          <a:gsLst>
            <a:gs pos="88759">
              <a:srgbClr val="0099CC"/>
            </a:gs>
            <a:gs pos="34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scene3d>
          <a:camera prst="orthographicFront"/>
          <a:lightRig rig="threePt" dir="t"/>
        </a:scene3d>
        <a:sp3d>
          <a:bevelT w="101600"/>
        </a:sp3d>
      </dgm:spPr>
      <dgm:t>
        <a:bodyPr/>
        <a:lstStyle/>
        <a:p>
          <a:r>
            <a:rPr lang="ru-RU" sz="1600" kern="1200" dirty="0" smtClean="0">
              <a:latin typeface="Book Antiqua" panose="02040602050305030304" pitchFamily="18" charset="0"/>
            </a:rPr>
            <a:t>Государства-члены к 2025 году осуществят гармонизацию своего законодательства в сфере финансового рынка в соответствии с международным договором в рамках Союза и Протоколом по финансовым услугам (приложение</a:t>
          </a:r>
          <a:r>
            <a:rPr lang="en-US" sz="1600" kern="1200" dirty="0" smtClean="0">
              <a:latin typeface="Book Antiqua" panose="02040602050305030304" pitchFamily="18" charset="0"/>
            </a:rPr>
            <a:t> </a:t>
          </a:r>
          <a:r>
            <a:rPr lang="ru-RU" sz="1600" kern="1200" dirty="0" smtClean="0">
              <a:latin typeface="Book Antiqua" panose="02040602050305030304" pitchFamily="18" charset="0"/>
            </a:rPr>
            <a:t>№</a:t>
          </a:r>
          <a:r>
            <a:rPr lang="en-US" sz="1600" kern="1200" dirty="0" smtClean="0">
              <a:latin typeface="Book Antiqua" panose="02040602050305030304" pitchFamily="18" charset="0"/>
            </a:rPr>
            <a:t> </a:t>
          </a:r>
          <a:r>
            <a:rPr lang="ru-RU" sz="1600" kern="1200" dirty="0" smtClean="0">
              <a:latin typeface="Book Antiqua" panose="02040602050305030304" pitchFamily="18" charset="0"/>
            </a:rPr>
            <a:t>17 к Договору)</a:t>
          </a:r>
          <a:endParaRPr lang="ru-RU" sz="1600" kern="1200" dirty="0">
            <a:solidFill>
              <a:prstClr val="white"/>
            </a:solidFill>
            <a:latin typeface="Book Antiqua" panose="02040602050305030304" pitchFamily="18" charset="0"/>
            <a:ea typeface="+mn-ea"/>
            <a:cs typeface="Times New Roman" panose="02020603050405020304" pitchFamily="18" charset="0"/>
          </a:endParaRPr>
        </a:p>
      </dgm:t>
    </dgm:pt>
    <dgm:pt modelId="{4F422544-C990-4522-878D-9D3530386DF0}" type="parTrans" cxnId="{2DA27E13-AC7C-4AD2-AD71-2F998658ECD0}">
      <dgm:prSet/>
      <dgm:spPr/>
      <dgm:t>
        <a:bodyPr/>
        <a:lstStyle/>
        <a:p>
          <a:endParaRPr lang="ru-RU"/>
        </a:p>
      </dgm:t>
    </dgm:pt>
    <dgm:pt modelId="{861CAE0E-704E-4F40-987C-AA74F3DDE97A}" type="sibTrans" cxnId="{2DA27E13-AC7C-4AD2-AD71-2F998658ECD0}">
      <dgm:prSet/>
      <dgm:spPr/>
      <dgm:t>
        <a:bodyPr/>
        <a:lstStyle/>
        <a:p>
          <a:endParaRPr lang="ru-RU"/>
        </a:p>
      </dgm:t>
    </dgm:pt>
    <dgm:pt modelId="{3C71D1E6-E8A4-4B30-B704-5AEF43899C0D}">
      <dgm:prSet phldrT="[Текст]" custT="1"/>
      <dgm:spPr>
        <a:gradFill rotWithShape="0">
          <a:gsLst>
            <a:gs pos="79596">
              <a:srgbClr val="0099CC"/>
            </a:gs>
            <a:gs pos="49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scene3d>
          <a:camera prst="orthographicFront"/>
          <a:lightRig rig="threePt" dir="t"/>
        </a:scene3d>
        <a:sp3d>
          <a:bevelT w="82550"/>
        </a:sp3d>
      </dgm:spPr>
      <dgm:t>
        <a:bodyPr/>
        <a:lstStyle/>
        <a:p>
          <a:r>
            <a:rPr lang="ru-RU" sz="1600" kern="1200" dirty="0" smtClean="0">
              <a:latin typeface="Book Antiqua" panose="02040602050305030304" pitchFamily="18" charset="0"/>
            </a:rPr>
            <a:t>Государства-члены после завершения гармонизации законодательства в сфере финансовых рынков примут решение о полномочиях и функциях наднационального органа по регулированию финансового рынка и создадут его с месторасположением в городе Алматы в 2025 году </a:t>
          </a:r>
          <a:endParaRPr lang="ru-RU" sz="1600" kern="1200" dirty="0">
            <a:solidFill>
              <a:prstClr val="white"/>
            </a:solidFill>
            <a:latin typeface="Book Antiqua" panose="02040602050305030304" pitchFamily="18" charset="0"/>
            <a:ea typeface="+mn-ea"/>
            <a:cs typeface="Times New Roman" panose="02020603050405020304" pitchFamily="18" charset="0"/>
          </a:endParaRPr>
        </a:p>
      </dgm:t>
    </dgm:pt>
    <dgm:pt modelId="{5E47182B-2C61-440C-8165-A43CA87C237A}" type="parTrans" cxnId="{4A1254D8-57E8-4DAD-A692-FA610473DA70}">
      <dgm:prSet/>
      <dgm:spPr/>
      <dgm:t>
        <a:bodyPr/>
        <a:lstStyle/>
        <a:p>
          <a:endParaRPr lang="ru-RU"/>
        </a:p>
      </dgm:t>
    </dgm:pt>
    <dgm:pt modelId="{7AB57823-DA11-4E58-B505-6CB7AA8EDA3D}" type="sibTrans" cxnId="{4A1254D8-57E8-4DAD-A692-FA610473DA70}">
      <dgm:prSet/>
      <dgm:spPr/>
      <dgm:t>
        <a:bodyPr/>
        <a:lstStyle/>
        <a:p>
          <a:endParaRPr lang="ru-RU"/>
        </a:p>
      </dgm:t>
    </dgm:pt>
    <dgm:pt modelId="{0AA096E4-F67A-4A8E-9BED-B2E00AEDF9A1}" type="pres">
      <dgm:prSet presAssocID="{EFF45E2F-E173-4B13-BDC1-51D1D3E5DC45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0B3CF96D-7B88-4069-A151-107227835000}" type="pres">
      <dgm:prSet presAssocID="{EFF45E2F-E173-4B13-BDC1-51D1D3E5DC45}" presName="Name1" presStyleCnt="0"/>
      <dgm:spPr/>
    </dgm:pt>
    <dgm:pt modelId="{EEBD86A6-5020-4AEF-B8AA-1018DB65DC50}" type="pres">
      <dgm:prSet presAssocID="{EFF45E2F-E173-4B13-BDC1-51D1D3E5DC45}" presName="cycle" presStyleCnt="0"/>
      <dgm:spPr/>
    </dgm:pt>
    <dgm:pt modelId="{DE485907-3F86-4532-BE33-ABB7F70AB796}" type="pres">
      <dgm:prSet presAssocID="{EFF45E2F-E173-4B13-BDC1-51D1D3E5DC45}" presName="srcNode" presStyleLbl="node1" presStyleIdx="0" presStyleCnt="2"/>
      <dgm:spPr/>
    </dgm:pt>
    <dgm:pt modelId="{20D82740-A365-4927-B17E-D91934F00D42}" type="pres">
      <dgm:prSet presAssocID="{EFF45E2F-E173-4B13-BDC1-51D1D3E5DC45}" presName="conn" presStyleLbl="parChTrans1D2" presStyleIdx="0" presStyleCnt="1"/>
      <dgm:spPr/>
      <dgm:t>
        <a:bodyPr/>
        <a:lstStyle/>
        <a:p>
          <a:endParaRPr lang="ru-RU"/>
        </a:p>
      </dgm:t>
    </dgm:pt>
    <dgm:pt modelId="{B69450E8-5173-414F-9D9C-70A981870F99}" type="pres">
      <dgm:prSet presAssocID="{EFF45E2F-E173-4B13-BDC1-51D1D3E5DC45}" presName="extraNode" presStyleLbl="node1" presStyleIdx="0" presStyleCnt="2"/>
      <dgm:spPr/>
    </dgm:pt>
    <dgm:pt modelId="{B58CAA23-C49E-490C-9DA9-DD9BEEB4386F}" type="pres">
      <dgm:prSet presAssocID="{EFF45E2F-E173-4B13-BDC1-51D1D3E5DC45}" presName="dstNode" presStyleLbl="node1" presStyleIdx="0" presStyleCnt="2"/>
      <dgm:spPr/>
    </dgm:pt>
    <dgm:pt modelId="{424ECC5A-B02F-4271-96E6-517A7CAA5468}" type="pres">
      <dgm:prSet presAssocID="{14E01004-8FD4-419D-BF5F-D75F00113448}" presName="text_1" presStyleLbl="node1" presStyleIdx="0" presStyleCnt="2" custLinFactNeighborX="-447" custLinFactNeighborY="-351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06126F-C99D-4D62-A1FE-356FE7B1850B}" type="pres">
      <dgm:prSet presAssocID="{14E01004-8FD4-419D-BF5F-D75F00113448}" presName="accent_1" presStyleCnt="0"/>
      <dgm:spPr/>
    </dgm:pt>
    <dgm:pt modelId="{26ADCB6E-F609-4B1F-8187-1D8D85352EEC}" type="pres">
      <dgm:prSet presAssocID="{14E01004-8FD4-419D-BF5F-D75F00113448}" presName="accentRepeatNode" presStyleLbl="solidFgAcc1" presStyleIdx="0" presStyleCnt="2" custLinFactNeighborX="1479" custLinFactNeighborY="-98"/>
      <dgm:spPr/>
      <dgm:t>
        <a:bodyPr/>
        <a:lstStyle/>
        <a:p>
          <a:endParaRPr lang="ru-RU"/>
        </a:p>
      </dgm:t>
    </dgm:pt>
    <dgm:pt modelId="{653A904B-2945-4DD7-8DE1-CB62F447A67F}" type="pres">
      <dgm:prSet presAssocID="{3C71D1E6-E8A4-4B30-B704-5AEF43899C0D}" presName="text_2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FB52A5-8F4E-46F4-B92A-6179787572C3}" type="pres">
      <dgm:prSet presAssocID="{3C71D1E6-E8A4-4B30-B704-5AEF43899C0D}" presName="accent_2" presStyleCnt="0"/>
      <dgm:spPr/>
    </dgm:pt>
    <dgm:pt modelId="{795E5A4E-731C-4F0A-BB61-44169590540D}" type="pres">
      <dgm:prSet presAssocID="{3C71D1E6-E8A4-4B30-B704-5AEF43899C0D}" presName="accentRepeatNode" presStyleLbl="solidFgAcc1" presStyleIdx="1" presStyleCnt="2"/>
      <dgm:spPr/>
    </dgm:pt>
  </dgm:ptLst>
  <dgm:cxnLst>
    <dgm:cxn modelId="{F219CDF3-3F4C-49EC-86D5-B7E89C2B536C}" type="presOf" srcId="{861CAE0E-704E-4F40-987C-AA74F3DDE97A}" destId="{20D82740-A365-4927-B17E-D91934F00D42}" srcOrd="0" destOrd="0" presId="urn:microsoft.com/office/officeart/2008/layout/VerticalCurvedList"/>
    <dgm:cxn modelId="{4A1254D8-57E8-4DAD-A692-FA610473DA70}" srcId="{EFF45E2F-E173-4B13-BDC1-51D1D3E5DC45}" destId="{3C71D1E6-E8A4-4B30-B704-5AEF43899C0D}" srcOrd="1" destOrd="0" parTransId="{5E47182B-2C61-440C-8165-A43CA87C237A}" sibTransId="{7AB57823-DA11-4E58-B505-6CB7AA8EDA3D}"/>
    <dgm:cxn modelId="{386A2494-CBE2-4675-BD14-41A10FEF80B2}" type="presOf" srcId="{14E01004-8FD4-419D-BF5F-D75F00113448}" destId="{424ECC5A-B02F-4271-96E6-517A7CAA5468}" srcOrd="0" destOrd="0" presId="urn:microsoft.com/office/officeart/2008/layout/VerticalCurvedList"/>
    <dgm:cxn modelId="{2DA27E13-AC7C-4AD2-AD71-2F998658ECD0}" srcId="{EFF45E2F-E173-4B13-BDC1-51D1D3E5DC45}" destId="{14E01004-8FD4-419D-BF5F-D75F00113448}" srcOrd="0" destOrd="0" parTransId="{4F422544-C990-4522-878D-9D3530386DF0}" sibTransId="{861CAE0E-704E-4F40-987C-AA74F3DDE97A}"/>
    <dgm:cxn modelId="{6E40A379-3A43-44C2-A875-F379DEB18823}" type="presOf" srcId="{EFF45E2F-E173-4B13-BDC1-51D1D3E5DC45}" destId="{0AA096E4-F67A-4A8E-9BED-B2E00AEDF9A1}" srcOrd="0" destOrd="0" presId="urn:microsoft.com/office/officeart/2008/layout/VerticalCurvedList"/>
    <dgm:cxn modelId="{9DB8D6F4-1536-418D-8308-21C39D63C13F}" type="presOf" srcId="{3C71D1E6-E8A4-4B30-B704-5AEF43899C0D}" destId="{653A904B-2945-4DD7-8DE1-CB62F447A67F}" srcOrd="0" destOrd="0" presId="urn:microsoft.com/office/officeart/2008/layout/VerticalCurvedList"/>
    <dgm:cxn modelId="{83095CF3-CE63-4DFD-9513-6995C9B4A3CE}" type="presParOf" srcId="{0AA096E4-F67A-4A8E-9BED-B2E00AEDF9A1}" destId="{0B3CF96D-7B88-4069-A151-107227835000}" srcOrd="0" destOrd="0" presId="urn:microsoft.com/office/officeart/2008/layout/VerticalCurvedList"/>
    <dgm:cxn modelId="{29A2EEBF-DCC0-4D15-937B-47C6FB2E43B9}" type="presParOf" srcId="{0B3CF96D-7B88-4069-A151-107227835000}" destId="{EEBD86A6-5020-4AEF-B8AA-1018DB65DC50}" srcOrd="0" destOrd="0" presId="urn:microsoft.com/office/officeart/2008/layout/VerticalCurvedList"/>
    <dgm:cxn modelId="{D40605CB-BEEA-4C10-B43B-5F93E9093AFA}" type="presParOf" srcId="{EEBD86A6-5020-4AEF-B8AA-1018DB65DC50}" destId="{DE485907-3F86-4532-BE33-ABB7F70AB796}" srcOrd="0" destOrd="0" presId="urn:microsoft.com/office/officeart/2008/layout/VerticalCurvedList"/>
    <dgm:cxn modelId="{0BABEA0A-0558-48F7-A486-8E9F32523600}" type="presParOf" srcId="{EEBD86A6-5020-4AEF-B8AA-1018DB65DC50}" destId="{20D82740-A365-4927-B17E-D91934F00D42}" srcOrd="1" destOrd="0" presId="urn:microsoft.com/office/officeart/2008/layout/VerticalCurvedList"/>
    <dgm:cxn modelId="{C9CA31D3-C77E-4B8D-9BBF-74BE1A77CB7C}" type="presParOf" srcId="{EEBD86A6-5020-4AEF-B8AA-1018DB65DC50}" destId="{B69450E8-5173-414F-9D9C-70A981870F99}" srcOrd="2" destOrd="0" presId="urn:microsoft.com/office/officeart/2008/layout/VerticalCurvedList"/>
    <dgm:cxn modelId="{2CF56415-2273-4CB6-9159-3D1D26429137}" type="presParOf" srcId="{EEBD86A6-5020-4AEF-B8AA-1018DB65DC50}" destId="{B58CAA23-C49E-490C-9DA9-DD9BEEB4386F}" srcOrd="3" destOrd="0" presId="urn:microsoft.com/office/officeart/2008/layout/VerticalCurvedList"/>
    <dgm:cxn modelId="{FA8E064D-DCD8-45E1-8BE3-BFEE077F4937}" type="presParOf" srcId="{0B3CF96D-7B88-4069-A151-107227835000}" destId="{424ECC5A-B02F-4271-96E6-517A7CAA5468}" srcOrd="1" destOrd="0" presId="urn:microsoft.com/office/officeart/2008/layout/VerticalCurvedList"/>
    <dgm:cxn modelId="{B0C67D39-1274-4F91-A41E-0EB9A28DB36A}" type="presParOf" srcId="{0B3CF96D-7B88-4069-A151-107227835000}" destId="{0806126F-C99D-4D62-A1FE-356FE7B1850B}" srcOrd="2" destOrd="0" presId="urn:microsoft.com/office/officeart/2008/layout/VerticalCurvedList"/>
    <dgm:cxn modelId="{C4FEDBE4-159E-4577-B06D-59E79EEA4293}" type="presParOf" srcId="{0806126F-C99D-4D62-A1FE-356FE7B1850B}" destId="{26ADCB6E-F609-4B1F-8187-1D8D85352EEC}" srcOrd="0" destOrd="0" presId="urn:microsoft.com/office/officeart/2008/layout/VerticalCurvedList"/>
    <dgm:cxn modelId="{38DA8DB7-9856-4583-9E8D-26519D1A3222}" type="presParOf" srcId="{0B3CF96D-7B88-4069-A151-107227835000}" destId="{653A904B-2945-4DD7-8DE1-CB62F447A67F}" srcOrd="3" destOrd="0" presId="urn:microsoft.com/office/officeart/2008/layout/VerticalCurvedList"/>
    <dgm:cxn modelId="{E45BDF49-8F6F-4386-A305-8DCDC804A28A}" type="presParOf" srcId="{0B3CF96D-7B88-4069-A151-107227835000}" destId="{31FB52A5-8F4E-46F4-B92A-6179787572C3}" srcOrd="4" destOrd="0" presId="urn:microsoft.com/office/officeart/2008/layout/VerticalCurvedList"/>
    <dgm:cxn modelId="{A58FE071-11D1-4140-A014-01C9E5E8CEB4}" type="presParOf" srcId="{31FB52A5-8F4E-46F4-B92A-6179787572C3}" destId="{795E5A4E-731C-4F0A-BB61-44169590540D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AF47698-0DF2-4FBC-B5AB-60EC2951EEDC}" type="doc">
      <dgm:prSet loTypeId="urn:microsoft.com/office/officeart/2005/8/layout/hierarchy3" loCatId="hierarchy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6E7C986-71FD-4195-B01D-86F33BB15B51}">
      <dgm:prSet phldrT="[Текст]" custT="1"/>
      <dgm:spPr/>
      <dgm:t>
        <a:bodyPr/>
        <a:lstStyle/>
        <a:p>
          <a:r>
            <a:rPr lang="ru-RU" sz="900" dirty="0" smtClean="0">
              <a:latin typeface="Book Antiqua" panose="02040602050305030304" pitchFamily="18" charset="0"/>
            </a:rPr>
            <a:t>Гармонизированные требования к регулированию и надзору в сфере финансовых рынков государств-членов</a:t>
          </a:r>
          <a:endParaRPr lang="ru-RU" sz="900" dirty="0">
            <a:latin typeface="Book Antiqua" panose="02040602050305030304" pitchFamily="18" charset="0"/>
          </a:endParaRPr>
        </a:p>
      </dgm:t>
    </dgm:pt>
    <dgm:pt modelId="{FDEE8E24-8DC0-4395-A59B-46507D3FD951}" type="parTrans" cxnId="{8D962E98-A5BB-4C37-A83A-9E7D4522C027}">
      <dgm:prSet/>
      <dgm:spPr/>
      <dgm:t>
        <a:bodyPr/>
        <a:lstStyle/>
        <a:p>
          <a:endParaRPr lang="ru-RU"/>
        </a:p>
      </dgm:t>
    </dgm:pt>
    <dgm:pt modelId="{09949064-92D4-435D-B0A1-22AD052AFF5C}" type="sibTrans" cxnId="{8D962E98-A5BB-4C37-A83A-9E7D4522C027}">
      <dgm:prSet/>
      <dgm:spPr/>
      <dgm:t>
        <a:bodyPr/>
        <a:lstStyle/>
        <a:p>
          <a:endParaRPr lang="ru-RU"/>
        </a:p>
      </dgm:t>
    </dgm:pt>
    <dgm:pt modelId="{17689E01-4E0F-43CA-9B90-45705428F942}">
      <dgm:prSet phldrT="[Текст]" custT="1"/>
      <dgm:spPr/>
      <dgm:t>
        <a:bodyPr/>
        <a:lstStyle/>
        <a:p>
          <a:r>
            <a:rPr lang="ru-RU" sz="900" dirty="0" smtClean="0">
              <a:latin typeface="Book Antiqua" panose="02040602050305030304" pitchFamily="18" charset="0"/>
            </a:rPr>
            <a:t>Взаимное признание лицензий в банковском и страховом секторах, а также в секторе услуг на РЦБ</a:t>
          </a:r>
          <a:endParaRPr lang="ru-RU" sz="900" dirty="0">
            <a:latin typeface="Book Antiqua" panose="02040602050305030304" pitchFamily="18" charset="0"/>
          </a:endParaRPr>
        </a:p>
      </dgm:t>
    </dgm:pt>
    <dgm:pt modelId="{3B16818C-3747-43BB-8C9E-29696D728660}" type="parTrans" cxnId="{024FCC95-7D12-4C52-A307-FCD06F6F0C13}">
      <dgm:prSet/>
      <dgm:spPr/>
      <dgm:t>
        <a:bodyPr/>
        <a:lstStyle/>
        <a:p>
          <a:endParaRPr lang="ru-RU"/>
        </a:p>
      </dgm:t>
    </dgm:pt>
    <dgm:pt modelId="{8A22FE65-EFB9-44C3-9B77-3CB12532B8DB}" type="sibTrans" cxnId="{024FCC95-7D12-4C52-A307-FCD06F6F0C13}">
      <dgm:prSet/>
      <dgm:spPr/>
      <dgm:t>
        <a:bodyPr/>
        <a:lstStyle/>
        <a:p>
          <a:endParaRPr lang="ru-RU"/>
        </a:p>
      </dgm:t>
    </dgm:pt>
    <dgm:pt modelId="{D34A6181-F0FA-4566-8270-848015A4BC2E}">
      <dgm:prSet phldrT="[Текст]"/>
      <dgm:spPr>
        <a:gradFill flip="none" rotWithShape="1">
          <a:gsLst>
            <a:gs pos="28000">
              <a:srgbClr val="0099CC"/>
            </a:gs>
            <a:gs pos="87000">
              <a:srgbClr val="003399"/>
            </a:gs>
          </a:gsLst>
          <a:lin ang="2700000" scaled="1"/>
          <a:tileRect/>
        </a:gradFill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 extrusionH="44450">
          <a:bevelT w="146050" h="63500"/>
          <a:bevelB w="38100"/>
        </a:sp3d>
      </dgm:spPr>
      <dgm:t>
        <a:bodyPr/>
        <a:lstStyle/>
        <a:p>
          <a:r>
            <a:rPr lang="ru-RU" dirty="0" smtClean="0">
              <a:solidFill>
                <a:schemeClr val="bg1"/>
              </a:solidFill>
              <a:latin typeface="Book Antiqua" panose="02040602050305030304" pitchFamily="18" charset="0"/>
            </a:rPr>
            <a:t>3 формы поставки</a:t>
          </a:r>
          <a:r>
            <a:rPr lang="en-US" dirty="0" smtClean="0">
              <a:solidFill>
                <a:schemeClr val="bg1"/>
              </a:solidFill>
              <a:latin typeface="Book Antiqua" panose="02040602050305030304" pitchFamily="18" charset="0"/>
            </a:rPr>
            <a:t>/</a:t>
          </a:r>
          <a:r>
            <a:rPr lang="ru-RU" dirty="0" smtClean="0">
              <a:solidFill>
                <a:schemeClr val="bg1"/>
              </a:solidFill>
              <a:latin typeface="Book Antiqua" panose="02040602050305030304" pitchFamily="18" charset="0"/>
            </a:rPr>
            <a:t>торговли финансовыми услугами:</a:t>
          </a:r>
          <a:endParaRPr lang="ru-RU" dirty="0">
            <a:solidFill>
              <a:schemeClr val="bg1"/>
            </a:solidFill>
            <a:latin typeface="Book Antiqua" panose="02040602050305030304" pitchFamily="18" charset="0"/>
          </a:endParaRPr>
        </a:p>
      </dgm:t>
    </dgm:pt>
    <dgm:pt modelId="{EBCD22D0-DA68-46B1-AEA2-2FFBBE4A7F2F}" type="parTrans" cxnId="{7CA9F8B1-47F2-42F4-99A4-67ED79948F40}">
      <dgm:prSet/>
      <dgm:spPr/>
      <dgm:t>
        <a:bodyPr/>
        <a:lstStyle/>
        <a:p>
          <a:endParaRPr lang="ru-RU"/>
        </a:p>
      </dgm:t>
    </dgm:pt>
    <dgm:pt modelId="{B33B1791-23B2-4CCE-AA89-8C0799C79E2E}" type="sibTrans" cxnId="{7CA9F8B1-47F2-42F4-99A4-67ED79948F40}">
      <dgm:prSet/>
      <dgm:spPr/>
      <dgm:t>
        <a:bodyPr/>
        <a:lstStyle/>
        <a:p>
          <a:endParaRPr lang="ru-RU"/>
        </a:p>
      </dgm:t>
    </dgm:pt>
    <dgm:pt modelId="{3FAC2225-8303-45A8-BA24-F48DCCEFBEBD}">
      <dgm:prSet phldrT="[Текст]" custT="1"/>
      <dgm:spPr/>
      <dgm:t>
        <a:bodyPr/>
        <a:lstStyle/>
        <a:p>
          <a:r>
            <a:rPr lang="ru-RU" sz="900" dirty="0" smtClean="0">
              <a:latin typeface="Book Antiqua" panose="02040602050305030304" pitchFamily="18" charset="0"/>
            </a:rPr>
            <a:t>С территории одного государства-члена на территорию др. государства-члена</a:t>
          </a:r>
          <a:endParaRPr lang="ru-RU" sz="900" dirty="0">
            <a:latin typeface="Book Antiqua" panose="02040602050305030304" pitchFamily="18" charset="0"/>
          </a:endParaRPr>
        </a:p>
      </dgm:t>
    </dgm:pt>
    <dgm:pt modelId="{64BD3DA3-9D5F-4C1F-8BA5-BC5E8B6D3277}" type="parTrans" cxnId="{B0A7E82E-FAD1-4537-A932-F66E1223E792}">
      <dgm:prSet/>
      <dgm:spPr/>
      <dgm:t>
        <a:bodyPr/>
        <a:lstStyle/>
        <a:p>
          <a:endParaRPr lang="ru-RU"/>
        </a:p>
      </dgm:t>
    </dgm:pt>
    <dgm:pt modelId="{FE6ABDFB-453D-489A-8C25-C7E2BAACFB31}" type="sibTrans" cxnId="{B0A7E82E-FAD1-4537-A932-F66E1223E792}">
      <dgm:prSet/>
      <dgm:spPr/>
      <dgm:t>
        <a:bodyPr/>
        <a:lstStyle/>
        <a:p>
          <a:endParaRPr lang="ru-RU"/>
        </a:p>
      </dgm:t>
    </dgm:pt>
    <dgm:pt modelId="{8B3F7613-0C64-4F76-9226-0B5C52CAA6EB}">
      <dgm:prSet phldrT="[Текст]" custT="1"/>
      <dgm:spPr/>
      <dgm:t>
        <a:bodyPr/>
        <a:lstStyle/>
        <a:p>
          <a:r>
            <a:rPr lang="ru-RU" sz="900" dirty="0" smtClean="0">
              <a:latin typeface="Book Antiqua" panose="02040602050305030304" pitchFamily="18" charset="0"/>
            </a:rPr>
            <a:t>На территории одного государства-члена лицом этого государства –члена  лицу др. государства-члена (потребителю услуг)</a:t>
          </a:r>
          <a:endParaRPr lang="ru-RU" sz="900" dirty="0">
            <a:latin typeface="Book Antiqua" panose="02040602050305030304" pitchFamily="18" charset="0"/>
          </a:endParaRPr>
        </a:p>
      </dgm:t>
    </dgm:pt>
    <dgm:pt modelId="{D5348CAD-2BB1-4233-9658-164FD87ADDCE}" type="parTrans" cxnId="{12A41148-CCCC-409D-883F-9A550A5BB858}">
      <dgm:prSet/>
      <dgm:spPr/>
      <dgm:t>
        <a:bodyPr/>
        <a:lstStyle/>
        <a:p>
          <a:endParaRPr lang="ru-RU"/>
        </a:p>
      </dgm:t>
    </dgm:pt>
    <dgm:pt modelId="{783F55CF-EC92-4034-BA97-DCDD47AFB342}" type="sibTrans" cxnId="{12A41148-CCCC-409D-883F-9A550A5BB858}">
      <dgm:prSet/>
      <dgm:spPr/>
      <dgm:t>
        <a:bodyPr/>
        <a:lstStyle/>
        <a:p>
          <a:endParaRPr lang="ru-RU"/>
        </a:p>
      </dgm:t>
    </dgm:pt>
    <dgm:pt modelId="{03082720-F865-4CC4-9BA7-621834D9E9F2}">
      <dgm:prSet custT="1"/>
      <dgm:spPr/>
      <dgm:t>
        <a:bodyPr/>
        <a:lstStyle/>
        <a:p>
          <a:r>
            <a:rPr lang="ru-RU" sz="900" dirty="0" smtClean="0">
              <a:latin typeface="Book Antiqua" panose="02040602050305030304" pitchFamily="18" charset="0"/>
            </a:rPr>
            <a:t>Осуществление деятельности по предоставлению фин. услуг на всей территории Союза без доп. учреждения в качестве Ю</a:t>
          </a:r>
          <a:r>
            <a:rPr lang="ru-RU" sz="900" dirty="0" smtClean="0"/>
            <a:t>Л </a:t>
          </a:r>
          <a:endParaRPr lang="ru-RU" sz="900" dirty="0"/>
        </a:p>
      </dgm:t>
    </dgm:pt>
    <dgm:pt modelId="{D395B7C6-0155-4EF8-9415-945875FA6EDD}" type="parTrans" cxnId="{46C77FFB-5E27-4CE3-95E0-7B1F190A27A9}">
      <dgm:prSet/>
      <dgm:spPr/>
      <dgm:t>
        <a:bodyPr/>
        <a:lstStyle/>
        <a:p>
          <a:endParaRPr lang="ru-RU"/>
        </a:p>
      </dgm:t>
    </dgm:pt>
    <dgm:pt modelId="{B6024908-EE9A-4F0C-B0EB-42DB4C9DB09D}" type="sibTrans" cxnId="{46C77FFB-5E27-4CE3-95E0-7B1F190A27A9}">
      <dgm:prSet/>
      <dgm:spPr/>
      <dgm:t>
        <a:bodyPr/>
        <a:lstStyle/>
        <a:p>
          <a:endParaRPr lang="ru-RU"/>
        </a:p>
      </dgm:t>
    </dgm:pt>
    <dgm:pt modelId="{8CDB3CB4-99CF-47DD-A6E5-BE51F819DA99}">
      <dgm:prSet custT="1"/>
      <dgm:spPr/>
      <dgm:t>
        <a:bodyPr/>
        <a:lstStyle/>
        <a:p>
          <a:r>
            <a:rPr lang="ru-RU" sz="900" dirty="0" smtClean="0">
              <a:latin typeface="Book Antiqua" panose="02040602050305030304" pitchFamily="18" charset="0"/>
            </a:rPr>
            <a:t>Поставщиком финансовых услуг одного государства- члена путем учреждения и деятельности на территории другого государства-члена</a:t>
          </a:r>
          <a:endParaRPr lang="ru-RU" sz="900" dirty="0">
            <a:latin typeface="Book Antiqua" panose="02040602050305030304" pitchFamily="18" charset="0"/>
          </a:endParaRPr>
        </a:p>
      </dgm:t>
    </dgm:pt>
    <dgm:pt modelId="{61A04AA2-0DA4-4C72-AF10-C873671E932D}" type="parTrans" cxnId="{765FEDBE-00D1-47AD-A3D1-E7E0C11ED7EC}">
      <dgm:prSet/>
      <dgm:spPr/>
      <dgm:t>
        <a:bodyPr/>
        <a:lstStyle/>
        <a:p>
          <a:endParaRPr lang="ru-RU"/>
        </a:p>
      </dgm:t>
    </dgm:pt>
    <dgm:pt modelId="{5E69B5C3-EE71-438A-866A-2B02CDAFF3B5}" type="sibTrans" cxnId="{765FEDBE-00D1-47AD-A3D1-E7E0C11ED7EC}">
      <dgm:prSet/>
      <dgm:spPr/>
      <dgm:t>
        <a:bodyPr/>
        <a:lstStyle/>
        <a:p>
          <a:endParaRPr lang="ru-RU"/>
        </a:p>
      </dgm:t>
    </dgm:pt>
    <dgm:pt modelId="{35853641-93D4-470B-B077-5FBAD9D1C6A0}">
      <dgm:prSet/>
      <dgm:spPr>
        <a:gradFill rotWithShape="0">
          <a:gsLst>
            <a:gs pos="0">
              <a:srgbClr val="0099CC"/>
            </a:gs>
            <a:gs pos="73000">
              <a:srgbClr val="003399"/>
            </a:gs>
          </a:gsLst>
        </a:gradFill>
      </dgm:spPr>
      <dgm:t>
        <a:bodyPr/>
        <a:lstStyle/>
        <a:p>
          <a:r>
            <a:rPr lang="ru-RU" dirty="0" smtClean="0">
              <a:solidFill>
                <a:schemeClr val="bg1"/>
              </a:solidFill>
              <a:latin typeface="Book Antiqua" panose="02040602050305030304" pitchFamily="18" charset="0"/>
            </a:rPr>
            <a:t>Приложение №1 и №2 –индивидуальные национальные перечни изъятий и ограничений </a:t>
          </a:r>
          <a:endParaRPr lang="ru-RU" dirty="0">
            <a:solidFill>
              <a:schemeClr val="bg1"/>
            </a:solidFill>
            <a:latin typeface="Book Antiqua" panose="02040602050305030304" pitchFamily="18" charset="0"/>
          </a:endParaRPr>
        </a:p>
      </dgm:t>
    </dgm:pt>
    <dgm:pt modelId="{00408CF5-6B3F-4582-807D-90B885E1EB9A}" type="parTrans" cxnId="{A7AE2971-AB9C-47FC-9682-68B480F2D8F1}">
      <dgm:prSet/>
      <dgm:spPr/>
      <dgm:t>
        <a:bodyPr/>
        <a:lstStyle/>
        <a:p>
          <a:endParaRPr lang="ru-RU"/>
        </a:p>
      </dgm:t>
    </dgm:pt>
    <dgm:pt modelId="{02D0FE3B-5035-4991-ABC7-1E6DD889EB5E}" type="sibTrans" cxnId="{A7AE2971-AB9C-47FC-9682-68B480F2D8F1}">
      <dgm:prSet/>
      <dgm:spPr/>
      <dgm:t>
        <a:bodyPr/>
        <a:lstStyle/>
        <a:p>
          <a:endParaRPr lang="ru-RU"/>
        </a:p>
      </dgm:t>
    </dgm:pt>
    <dgm:pt modelId="{B59260F6-20C9-4828-B451-661A49D0FB27}">
      <dgm:prSet/>
      <dgm:spPr/>
      <dgm:t>
        <a:bodyPr/>
        <a:lstStyle/>
        <a:p>
          <a:r>
            <a:rPr lang="ru-RU" dirty="0" smtClean="0">
              <a:latin typeface="Book Antiqua" panose="02040602050305030304" pitchFamily="18" charset="0"/>
            </a:rPr>
            <a:t>Приложение №1 – перечень подсекторов финансовых услуг, в которых государствами-членами в соответствии с пунктом 4 Протокола (Приложение №17) предоставляется национальный режим и принимаются обязательства в соответствии с пунктом 10 Протокола </a:t>
          </a:r>
          <a:endParaRPr lang="ru-RU" dirty="0">
            <a:latin typeface="Book Antiqua" panose="02040602050305030304" pitchFamily="18" charset="0"/>
          </a:endParaRPr>
        </a:p>
      </dgm:t>
    </dgm:pt>
    <dgm:pt modelId="{E2464E1B-5669-4A27-ACBD-8B2E8A5DEB95}" type="parTrans" cxnId="{28BDAB45-EC8A-4CE4-A2D7-E170A980BCAA}">
      <dgm:prSet/>
      <dgm:spPr/>
      <dgm:t>
        <a:bodyPr/>
        <a:lstStyle/>
        <a:p>
          <a:endParaRPr lang="ru-RU"/>
        </a:p>
      </dgm:t>
    </dgm:pt>
    <dgm:pt modelId="{4E1878A7-8754-4459-945E-AE1B865E2CB8}" type="sibTrans" cxnId="{28BDAB45-EC8A-4CE4-A2D7-E170A980BCAA}">
      <dgm:prSet/>
      <dgm:spPr/>
      <dgm:t>
        <a:bodyPr/>
        <a:lstStyle/>
        <a:p>
          <a:endParaRPr lang="ru-RU"/>
        </a:p>
      </dgm:t>
    </dgm:pt>
    <dgm:pt modelId="{8446C195-407C-4A20-B101-29B6B06C42F9}">
      <dgm:prSet custT="1"/>
      <dgm:spPr/>
      <dgm:t>
        <a:bodyPr/>
        <a:lstStyle/>
        <a:p>
          <a:r>
            <a:rPr lang="ru-RU" sz="900" dirty="0" smtClean="0">
              <a:latin typeface="Book Antiqua" panose="02040602050305030304" pitchFamily="18" charset="0"/>
            </a:rPr>
            <a:t>Приложение №2 – Ограничения, сохраняемые государствами-членами в отношении учреждения и деятельности</a:t>
          </a:r>
          <a:endParaRPr lang="ru-RU" sz="900" dirty="0">
            <a:latin typeface="Book Antiqua" panose="02040602050305030304" pitchFamily="18" charset="0"/>
          </a:endParaRPr>
        </a:p>
      </dgm:t>
    </dgm:pt>
    <dgm:pt modelId="{5FEE03D6-F584-471C-A59B-FF012F76AA72}" type="parTrans" cxnId="{B8C2A0BD-072C-41E9-A931-12FC54AD72E0}">
      <dgm:prSet/>
      <dgm:spPr/>
      <dgm:t>
        <a:bodyPr/>
        <a:lstStyle/>
        <a:p>
          <a:endParaRPr lang="ru-RU"/>
        </a:p>
      </dgm:t>
    </dgm:pt>
    <dgm:pt modelId="{3F6CA765-71DD-459C-A3DF-215509C62EA2}" type="sibTrans" cxnId="{B8C2A0BD-072C-41E9-A931-12FC54AD72E0}">
      <dgm:prSet/>
      <dgm:spPr/>
      <dgm:t>
        <a:bodyPr/>
        <a:lstStyle/>
        <a:p>
          <a:endParaRPr lang="ru-RU"/>
        </a:p>
      </dgm:t>
    </dgm:pt>
    <dgm:pt modelId="{76E9831F-6ED2-4A80-97FF-119B796DFE66}">
      <dgm:prSet custT="1"/>
      <dgm:spPr/>
      <dgm:t>
        <a:bodyPr/>
        <a:lstStyle/>
        <a:p>
          <a:r>
            <a:rPr lang="ru-RU" sz="900" dirty="0" smtClean="0">
              <a:latin typeface="Book Antiqua" panose="02040602050305030304" pitchFamily="18" charset="0"/>
            </a:rPr>
            <a:t>Административное сотрудничество между уполномоченными органами государств-членов, в </a:t>
          </a:r>
          <a:r>
            <a:rPr lang="ru-RU" sz="900" dirty="0" err="1" smtClean="0">
              <a:latin typeface="Book Antiqua" panose="02040602050305030304" pitchFamily="18" charset="0"/>
            </a:rPr>
            <a:t>т.ч</a:t>
          </a:r>
          <a:r>
            <a:rPr lang="ru-RU" sz="900" dirty="0" smtClean="0">
              <a:latin typeface="Book Antiqua" panose="02040602050305030304" pitchFamily="18" charset="0"/>
            </a:rPr>
            <a:t>. путем обмена информацией</a:t>
          </a:r>
          <a:endParaRPr lang="ru-RU" sz="900" dirty="0">
            <a:latin typeface="Book Antiqua" panose="02040602050305030304" pitchFamily="18" charset="0"/>
          </a:endParaRPr>
        </a:p>
      </dgm:t>
    </dgm:pt>
    <dgm:pt modelId="{EABDD259-A470-4B60-99E0-210BB23115DC}" type="parTrans" cxnId="{E5FFCE20-59C5-4E4B-9705-B5F2D038BDF3}">
      <dgm:prSet/>
      <dgm:spPr/>
      <dgm:t>
        <a:bodyPr/>
        <a:lstStyle/>
        <a:p>
          <a:endParaRPr lang="ru-RU"/>
        </a:p>
      </dgm:t>
    </dgm:pt>
    <dgm:pt modelId="{45B96CE5-3306-4391-9F11-3A1D60F2457C}" type="sibTrans" cxnId="{E5FFCE20-59C5-4E4B-9705-B5F2D038BDF3}">
      <dgm:prSet/>
      <dgm:spPr/>
      <dgm:t>
        <a:bodyPr/>
        <a:lstStyle/>
        <a:p>
          <a:endParaRPr lang="ru-RU"/>
        </a:p>
      </dgm:t>
    </dgm:pt>
    <dgm:pt modelId="{460DD4BC-FB0F-4997-8F36-5607C9D37199}">
      <dgm:prSet/>
      <dgm:spPr>
        <a:gradFill rotWithShape="0">
          <a:gsLst>
            <a:gs pos="0">
              <a:srgbClr val="0099CC"/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</a:gradFill>
      </dgm:spPr>
      <dgm:t>
        <a:bodyPr/>
        <a:lstStyle/>
        <a:p>
          <a:r>
            <a:rPr lang="ru-RU" dirty="0" smtClean="0">
              <a:latin typeface="Book Antiqua" panose="02040602050305030304" pitchFamily="18" charset="0"/>
            </a:rPr>
            <a:t>Государства-члены обеспечивают поэтапное сокращение изъятий и ограничений, указанных в приложениях №1 и 2</a:t>
          </a:r>
          <a:endParaRPr lang="ru-RU" dirty="0">
            <a:latin typeface="Book Antiqua" panose="02040602050305030304" pitchFamily="18" charset="0"/>
          </a:endParaRPr>
        </a:p>
      </dgm:t>
    </dgm:pt>
    <dgm:pt modelId="{EAAD27FA-F4AA-41F6-BBEF-EE5B658165ED}" type="parTrans" cxnId="{8E579AFE-06ED-46B6-8CF8-1A3B67C2C844}">
      <dgm:prSet/>
      <dgm:spPr/>
      <dgm:t>
        <a:bodyPr/>
        <a:lstStyle/>
        <a:p>
          <a:endParaRPr lang="ru-RU"/>
        </a:p>
      </dgm:t>
    </dgm:pt>
    <dgm:pt modelId="{0B35CC39-A614-47C1-ACF5-F3D66A816E04}" type="sibTrans" cxnId="{8E579AFE-06ED-46B6-8CF8-1A3B67C2C844}">
      <dgm:prSet/>
      <dgm:spPr/>
      <dgm:t>
        <a:bodyPr/>
        <a:lstStyle/>
        <a:p>
          <a:endParaRPr lang="ru-RU"/>
        </a:p>
      </dgm:t>
    </dgm:pt>
    <dgm:pt modelId="{831C1A49-9C0D-4EC8-81CF-51B3F9857E48}">
      <dgm:prSet phldrT="[Текст]"/>
      <dgm:spPr>
        <a:gradFill rotWithShape="0">
          <a:gsLst>
            <a:gs pos="0">
              <a:srgbClr val="0099CC"/>
            </a:gs>
            <a:gs pos="83000">
              <a:srgbClr val="003399"/>
            </a:gs>
          </a:gsLst>
        </a:gradFill>
      </dgm:spPr>
      <dgm:t>
        <a:bodyPr/>
        <a:lstStyle/>
        <a:p>
          <a:r>
            <a:rPr lang="ru-RU" dirty="0" smtClean="0">
              <a:solidFill>
                <a:schemeClr val="bg1"/>
              </a:solidFill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Общий финансовый рынок – финансовый рынок государств-членов, соответствующий следующим критериям:</a:t>
          </a:r>
          <a:endParaRPr lang="ru-RU" dirty="0">
            <a:solidFill>
              <a:schemeClr val="bg1"/>
            </a:solidFill>
          </a:endParaRPr>
        </a:p>
      </dgm:t>
    </dgm:pt>
    <dgm:pt modelId="{CCAB8860-09BF-4AA6-844E-BC9C2A3D2080}" type="sibTrans" cxnId="{F29D17C5-25A1-4E0D-8924-892988277314}">
      <dgm:prSet/>
      <dgm:spPr/>
      <dgm:t>
        <a:bodyPr/>
        <a:lstStyle/>
        <a:p>
          <a:endParaRPr lang="ru-RU"/>
        </a:p>
      </dgm:t>
    </dgm:pt>
    <dgm:pt modelId="{F6155C5A-9574-4D96-8F75-E83FAFBA788A}" type="parTrans" cxnId="{F29D17C5-25A1-4E0D-8924-892988277314}">
      <dgm:prSet/>
      <dgm:spPr/>
      <dgm:t>
        <a:bodyPr/>
        <a:lstStyle/>
        <a:p>
          <a:endParaRPr lang="ru-RU"/>
        </a:p>
      </dgm:t>
    </dgm:pt>
    <dgm:pt modelId="{F5FB13DA-736F-412C-BDA9-E46987964EEA}" type="pres">
      <dgm:prSet presAssocID="{9AF47698-0DF2-4FBC-B5AB-60EC2951EEDC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7ACA289F-0A94-4DDE-8489-6365DDAB604B}" type="pres">
      <dgm:prSet presAssocID="{831C1A49-9C0D-4EC8-81CF-51B3F9857E48}" presName="root" presStyleCnt="0"/>
      <dgm:spPr/>
      <dgm:t>
        <a:bodyPr/>
        <a:lstStyle/>
        <a:p>
          <a:endParaRPr lang="ru-RU"/>
        </a:p>
      </dgm:t>
    </dgm:pt>
    <dgm:pt modelId="{1D496F1D-4356-4F95-9B6A-ECAFD96B1117}" type="pres">
      <dgm:prSet presAssocID="{831C1A49-9C0D-4EC8-81CF-51B3F9857E48}" presName="rootComposite" presStyleCnt="0"/>
      <dgm:spPr/>
      <dgm:t>
        <a:bodyPr/>
        <a:lstStyle/>
        <a:p>
          <a:endParaRPr lang="ru-RU"/>
        </a:p>
      </dgm:t>
    </dgm:pt>
    <dgm:pt modelId="{4C731B19-735E-4F62-843B-F0D17A027D0D}" type="pres">
      <dgm:prSet presAssocID="{831C1A49-9C0D-4EC8-81CF-51B3F9857E48}" presName="rootText" presStyleLbl="node1" presStyleIdx="0" presStyleCnt="4"/>
      <dgm:spPr/>
      <dgm:t>
        <a:bodyPr/>
        <a:lstStyle/>
        <a:p>
          <a:endParaRPr lang="ru-RU"/>
        </a:p>
      </dgm:t>
    </dgm:pt>
    <dgm:pt modelId="{AD37AB70-28E6-4CB0-8703-FEFBDB9619EE}" type="pres">
      <dgm:prSet presAssocID="{831C1A49-9C0D-4EC8-81CF-51B3F9857E48}" presName="rootConnector" presStyleLbl="node1" presStyleIdx="0" presStyleCnt="4"/>
      <dgm:spPr/>
      <dgm:t>
        <a:bodyPr/>
        <a:lstStyle/>
        <a:p>
          <a:endParaRPr lang="ru-RU"/>
        </a:p>
      </dgm:t>
    </dgm:pt>
    <dgm:pt modelId="{37D37673-0665-4BC0-8F88-9420BB716C31}" type="pres">
      <dgm:prSet presAssocID="{831C1A49-9C0D-4EC8-81CF-51B3F9857E48}" presName="childShape" presStyleCnt="0"/>
      <dgm:spPr/>
      <dgm:t>
        <a:bodyPr/>
        <a:lstStyle/>
        <a:p>
          <a:endParaRPr lang="ru-RU"/>
        </a:p>
      </dgm:t>
    </dgm:pt>
    <dgm:pt modelId="{2AD8FDCA-9139-46C5-B260-2139547B530A}" type="pres">
      <dgm:prSet presAssocID="{FDEE8E24-8DC0-4395-A59B-46507D3FD951}" presName="Name13" presStyleLbl="parChTrans1D2" presStyleIdx="0" presStyleCnt="9"/>
      <dgm:spPr/>
      <dgm:t>
        <a:bodyPr/>
        <a:lstStyle/>
        <a:p>
          <a:endParaRPr lang="ru-RU"/>
        </a:p>
      </dgm:t>
    </dgm:pt>
    <dgm:pt modelId="{8D07B030-0C77-4A2E-9D1A-B030865192E4}" type="pres">
      <dgm:prSet presAssocID="{86E7C986-71FD-4195-B01D-86F33BB15B51}" presName="childText" presStyleLbl="bgAcc1" presStyleIdx="0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5987CF9-9614-4DE6-A9C3-95AD74CBA8BE}" type="pres">
      <dgm:prSet presAssocID="{3B16818C-3747-43BB-8C9E-29696D728660}" presName="Name13" presStyleLbl="parChTrans1D2" presStyleIdx="1" presStyleCnt="9"/>
      <dgm:spPr/>
      <dgm:t>
        <a:bodyPr/>
        <a:lstStyle/>
        <a:p>
          <a:endParaRPr lang="ru-RU"/>
        </a:p>
      </dgm:t>
    </dgm:pt>
    <dgm:pt modelId="{455941BE-056A-48C4-84BB-0F6E6EBD534A}" type="pres">
      <dgm:prSet presAssocID="{17689E01-4E0F-43CA-9B90-45705428F942}" presName="childText" presStyleLbl="bgAcc1" presStyleIdx="1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D1CDDDC-0D9F-432D-88AE-9BAF12D18D80}" type="pres">
      <dgm:prSet presAssocID="{D395B7C6-0155-4EF8-9415-945875FA6EDD}" presName="Name13" presStyleLbl="parChTrans1D2" presStyleIdx="2" presStyleCnt="9"/>
      <dgm:spPr/>
      <dgm:t>
        <a:bodyPr/>
        <a:lstStyle/>
        <a:p>
          <a:endParaRPr lang="ru-RU"/>
        </a:p>
      </dgm:t>
    </dgm:pt>
    <dgm:pt modelId="{16003EAB-EF8B-4BA0-9F60-F675E12951C7}" type="pres">
      <dgm:prSet presAssocID="{03082720-F865-4CC4-9BA7-621834D9E9F2}" presName="childText" presStyleLbl="bgAcc1" presStyleIdx="2" presStyleCnt="9" custScaleX="116044" custScaleY="10478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C893ACC-8966-4E3B-A95B-301E336D9187}" type="pres">
      <dgm:prSet presAssocID="{EABDD259-A470-4B60-99E0-210BB23115DC}" presName="Name13" presStyleLbl="parChTrans1D2" presStyleIdx="3" presStyleCnt="9"/>
      <dgm:spPr/>
      <dgm:t>
        <a:bodyPr/>
        <a:lstStyle/>
        <a:p>
          <a:endParaRPr lang="ru-RU"/>
        </a:p>
      </dgm:t>
    </dgm:pt>
    <dgm:pt modelId="{C646E264-AC92-412F-82E5-4B81AAB854FC}" type="pres">
      <dgm:prSet presAssocID="{76E9831F-6ED2-4A80-97FF-119B796DFE66}" presName="childText" presStyleLbl="bgAcc1" presStyleIdx="3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CA9A06D-4B5D-4238-9449-ED07402DD635}" type="pres">
      <dgm:prSet presAssocID="{D34A6181-F0FA-4566-8270-848015A4BC2E}" presName="root" presStyleCnt="0"/>
      <dgm:spPr/>
      <dgm:t>
        <a:bodyPr/>
        <a:lstStyle/>
        <a:p>
          <a:endParaRPr lang="ru-RU"/>
        </a:p>
      </dgm:t>
    </dgm:pt>
    <dgm:pt modelId="{CCE8CCD9-4441-49D2-BCB8-1C00BC1A9A94}" type="pres">
      <dgm:prSet presAssocID="{D34A6181-F0FA-4566-8270-848015A4BC2E}" presName="rootComposite" presStyleCnt="0"/>
      <dgm:spPr/>
      <dgm:t>
        <a:bodyPr/>
        <a:lstStyle/>
        <a:p>
          <a:endParaRPr lang="ru-RU"/>
        </a:p>
      </dgm:t>
    </dgm:pt>
    <dgm:pt modelId="{723F05F4-DFF5-4A81-86E7-1FA30D17A3F7}" type="pres">
      <dgm:prSet presAssocID="{D34A6181-F0FA-4566-8270-848015A4BC2E}" presName="rootText" presStyleLbl="node1" presStyleIdx="1" presStyleCnt="4"/>
      <dgm:spPr/>
      <dgm:t>
        <a:bodyPr/>
        <a:lstStyle/>
        <a:p>
          <a:endParaRPr lang="ru-RU"/>
        </a:p>
      </dgm:t>
    </dgm:pt>
    <dgm:pt modelId="{9638236A-1596-4F08-9635-A2F42A44C518}" type="pres">
      <dgm:prSet presAssocID="{D34A6181-F0FA-4566-8270-848015A4BC2E}" presName="rootConnector" presStyleLbl="node1" presStyleIdx="1" presStyleCnt="4"/>
      <dgm:spPr/>
      <dgm:t>
        <a:bodyPr/>
        <a:lstStyle/>
        <a:p>
          <a:endParaRPr lang="ru-RU"/>
        </a:p>
      </dgm:t>
    </dgm:pt>
    <dgm:pt modelId="{B8942A76-D440-488E-966E-4268ED31B370}" type="pres">
      <dgm:prSet presAssocID="{D34A6181-F0FA-4566-8270-848015A4BC2E}" presName="childShape" presStyleCnt="0"/>
      <dgm:spPr/>
      <dgm:t>
        <a:bodyPr/>
        <a:lstStyle/>
        <a:p>
          <a:endParaRPr lang="ru-RU"/>
        </a:p>
      </dgm:t>
    </dgm:pt>
    <dgm:pt modelId="{A35AE4CC-B896-4B8D-ABA9-63A418BC2ABF}" type="pres">
      <dgm:prSet presAssocID="{64BD3DA3-9D5F-4C1F-8BA5-BC5E8B6D3277}" presName="Name13" presStyleLbl="parChTrans1D2" presStyleIdx="4" presStyleCnt="9"/>
      <dgm:spPr/>
      <dgm:t>
        <a:bodyPr/>
        <a:lstStyle/>
        <a:p>
          <a:endParaRPr lang="ru-RU"/>
        </a:p>
      </dgm:t>
    </dgm:pt>
    <dgm:pt modelId="{D790899B-3B79-44EB-85BC-8238E1C03D2D}" type="pres">
      <dgm:prSet presAssocID="{3FAC2225-8303-45A8-BA24-F48DCCEFBEBD}" presName="childText" presStyleLbl="bgAcc1" presStyleIdx="4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4106EA1-47A3-4B44-A61B-6C71FEF44C0E}" type="pres">
      <dgm:prSet presAssocID="{D5348CAD-2BB1-4233-9658-164FD87ADDCE}" presName="Name13" presStyleLbl="parChTrans1D2" presStyleIdx="5" presStyleCnt="9"/>
      <dgm:spPr/>
      <dgm:t>
        <a:bodyPr/>
        <a:lstStyle/>
        <a:p>
          <a:endParaRPr lang="ru-RU"/>
        </a:p>
      </dgm:t>
    </dgm:pt>
    <dgm:pt modelId="{930710C5-9C3E-48AA-A2B2-BA6C509D1E6A}" type="pres">
      <dgm:prSet presAssocID="{8B3F7613-0C64-4F76-9226-0B5C52CAA6EB}" presName="childText" presStyleLbl="bgAcc1" presStyleIdx="5" presStyleCnt="9" custScaleX="115889" custScaleY="10900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E1E9D3E-680C-498F-B122-826B5AF8564C}" type="pres">
      <dgm:prSet presAssocID="{61A04AA2-0DA4-4C72-AF10-C873671E932D}" presName="Name13" presStyleLbl="parChTrans1D2" presStyleIdx="6" presStyleCnt="9"/>
      <dgm:spPr/>
      <dgm:t>
        <a:bodyPr/>
        <a:lstStyle/>
        <a:p>
          <a:endParaRPr lang="ru-RU"/>
        </a:p>
      </dgm:t>
    </dgm:pt>
    <dgm:pt modelId="{9DA85ED6-842B-41B8-814F-F29B1105ADAF}" type="pres">
      <dgm:prSet presAssocID="{8CDB3CB4-99CF-47DD-A6E5-BE51F819DA99}" presName="childText" presStyleLbl="bgAcc1" presStyleIdx="6" presStyleCnt="9" custScaleX="100528" custScaleY="12433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3FB1D93-130C-41AA-964A-9D6575749741}" type="pres">
      <dgm:prSet presAssocID="{35853641-93D4-470B-B077-5FBAD9D1C6A0}" presName="root" presStyleCnt="0"/>
      <dgm:spPr/>
      <dgm:t>
        <a:bodyPr/>
        <a:lstStyle/>
        <a:p>
          <a:endParaRPr lang="ru-RU"/>
        </a:p>
      </dgm:t>
    </dgm:pt>
    <dgm:pt modelId="{9612C7AC-3931-4FD2-8B81-FC2E2901E434}" type="pres">
      <dgm:prSet presAssocID="{35853641-93D4-470B-B077-5FBAD9D1C6A0}" presName="rootComposite" presStyleCnt="0"/>
      <dgm:spPr/>
      <dgm:t>
        <a:bodyPr/>
        <a:lstStyle/>
        <a:p>
          <a:endParaRPr lang="ru-RU"/>
        </a:p>
      </dgm:t>
    </dgm:pt>
    <dgm:pt modelId="{E23E5406-4BD3-4504-973B-DB8B19679FF7}" type="pres">
      <dgm:prSet presAssocID="{35853641-93D4-470B-B077-5FBAD9D1C6A0}" presName="rootText" presStyleLbl="node1" presStyleIdx="2" presStyleCnt="4"/>
      <dgm:spPr/>
      <dgm:t>
        <a:bodyPr/>
        <a:lstStyle/>
        <a:p>
          <a:endParaRPr lang="ru-RU"/>
        </a:p>
      </dgm:t>
    </dgm:pt>
    <dgm:pt modelId="{A0E92472-3543-4ABF-B51C-5AC237C1875D}" type="pres">
      <dgm:prSet presAssocID="{35853641-93D4-470B-B077-5FBAD9D1C6A0}" presName="rootConnector" presStyleLbl="node1" presStyleIdx="2" presStyleCnt="4"/>
      <dgm:spPr/>
      <dgm:t>
        <a:bodyPr/>
        <a:lstStyle/>
        <a:p>
          <a:endParaRPr lang="ru-RU"/>
        </a:p>
      </dgm:t>
    </dgm:pt>
    <dgm:pt modelId="{5505DA13-70FB-45AE-8CE3-8A977A6A3EB3}" type="pres">
      <dgm:prSet presAssocID="{35853641-93D4-470B-B077-5FBAD9D1C6A0}" presName="childShape" presStyleCnt="0"/>
      <dgm:spPr/>
      <dgm:t>
        <a:bodyPr/>
        <a:lstStyle/>
        <a:p>
          <a:endParaRPr lang="ru-RU"/>
        </a:p>
      </dgm:t>
    </dgm:pt>
    <dgm:pt modelId="{0F59782F-8949-4181-B1FE-CB23247686EE}" type="pres">
      <dgm:prSet presAssocID="{E2464E1B-5669-4A27-ACBD-8B2E8A5DEB95}" presName="Name13" presStyleLbl="parChTrans1D2" presStyleIdx="7" presStyleCnt="9"/>
      <dgm:spPr/>
      <dgm:t>
        <a:bodyPr/>
        <a:lstStyle/>
        <a:p>
          <a:endParaRPr lang="ru-RU"/>
        </a:p>
      </dgm:t>
    </dgm:pt>
    <dgm:pt modelId="{C882CC00-BB2C-477B-99F9-5F368818956E}" type="pres">
      <dgm:prSet presAssocID="{B59260F6-20C9-4828-B451-661A49D0FB27}" presName="childText" presStyleLbl="bgAcc1" presStyleIdx="7" presStyleCnt="9" custScaleX="140963" custScaleY="14915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E9C5249-71DE-4D5D-82AA-FA0179CB0CAB}" type="pres">
      <dgm:prSet presAssocID="{5FEE03D6-F584-471C-A59B-FF012F76AA72}" presName="Name13" presStyleLbl="parChTrans1D2" presStyleIdx="8" presStyleCnt="9"/>
      <dgm:spPr/>
      <dgm:t>
        <a:bodyPr/>
        <a:lstStyle/>
        <a:p>
          <a:endParaRPr lang="ru-RU"/>
        </a:p>
      </dgm:t>
    </dgm:pt>
    <dgm:pt modelId="{2F4A6885-9A09-48E5-8BC3-3CAB41AC3ED7}" type="pres">
      <dgm:prSet presAssocID="{8446C195-407C-4A20-B101-29B6B06C42F9}" presName="childText" presStyleLbl="bgAcc1" presStyleIdx="8" presStyleCnt="9" custScaleX="125975" custScaleY="12538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2AD2722-0A37-46F5-A944-3F99948FAEC4}" type="pres">
      <dgm:prSet presAssocID="{460DD4BC-FB0F-4997-8F36-5607C9D37199}" presName="root" presStyleCnt="0"/>
      <dgm:spPr/>
      <dgm:t>
        <a:bodyPr/>
        <a:lstStyle/>
        <a:p>
          <a:endParaRPr lang="ru-RU"/>
        </a:p>
      </dgm:t>
    </dgm:pt>
    <dgm:pt modelId="{16264D05-6580-4CFD-AC13-844AE1B019DC}" type="pres">
      <dgm:prSet presAssocID="{460DD4BC-FB0F-4997-8F36-5607C9D37199}" presName="rootComposite" presStyleCnt="0"/>
      <dgm:spPr/>
      <dgm:t>
        <a:bodyPr/>
        <a:lstStyle/>
        <a:p>
          <a:endParaRPr lang="ru-RU"/>
        </a:p>
      </dgm:t>
    </dgm:pt>
    <dgm:pt modelId="{6D04B1A6-F1B8-4011-831B-B943DA05AD98}" type="pres">
      <dgm:prSet presAssocID="{460DD4BC-FB0F-4997-8F36-5607C9D37199}" presName="rootText" presStyleLbl="node1" presStyleIdx="3" presStyleCnt="4"/>
      <dgm:spPr/>
      <dgm:t>
        <a:bodyPr/>
        <a:lstStyle/>
        <a:p>
          <a:endParaRPr lang="ru-RU"/>
        </a:p>
      </dgm:t>
    </dgm:pt>
    <dgm:pt modelId="{5A8ADD97-11BC-431B-8F57-78D03F14A596}" type="pres">
      <dgm:prSet presAssocID="{460DD4BC-FB0F-4997-8F36-5607C9D37199}" presName="rootConnector" presStyleLbl="node1" presStyleIdx="3" presStyleCnt="4"/>
      <dgm:spPr/>
      <dgm:t>
        <a:bodyPr/>
        <a:lstStyle/>
        <a:p>
          <a:endParaRPr lang="ru-RU"/>
        </a:p>
      </dgm:t>
    </dgm:pt>
    <dgm:pt modelId="{2FB469C6-24DA-467A-90D3-E458E40E9213}" type="pres">
      <dgm:prSet presAssocID="{460DD4BC-FB0F-4997-8F36-5607C9D37199}" presName="childShape" presStyleCnt="0"/>
      <dgm:spPr/>
      <dgm:t>
        <a:bodyPr/>
        <a:lstStyle/>
        <a:p>
          <a:endParaRPr lang="ru-RU"/>
        </a:p>
      </dgm:t>
    </dgm:pt>
  </dgm:ptLst>
  <dgm:cxnLst>
    <dgm:cxn modelId="{E5FFCE20-59C5-4E4B-9705-B5F2D038BDF3}" srcId="{831C1A49-9C0D-4EC8-81CF-51B3F9857E48}" destId="{76E9831F-6ED2-4A80-97FF-119B796DFE66}" srcOrd="3" destOrd="0" parTransId="{EABDD259-A470-4B60-99E0-210BB23115DC}" sibTransId="{45B96CE5-3306-4391-9F11-3A1D60F2457C}"/>
    <dgm:cxn modelId="{7FF4C259-20D4-4F8F-B4A4-3CF22A80C89C}" type="presOf" srcId="{3B16818C-3747-43BB-8C9E-29696D728660}" destId="{E5987CF9-9614-4DE6-A9C3-95AD74CBA8BE}" srcOrd="0" destOrd="0" presId="urn:microsoft.com/office/officeart/2005/8/layout/hierarchy3"/>
    <dgm:cxn modelId="{A7AE2971-AB9C-47FC-9682-68B480F2D8F1}" srcId="{9AF47698-0DF2-4FBC-B5AB-60EC2951EEDC}" destId="{35853641-93D4-470B-B077-5FBAD9D1C6A0}" srcOrd="2" destOrd="0" parTransId="{00408CF5-6B3F-4582-807D-90B885E1EB9A}" sibTransId="{02D0FE3B-5035-4991-ABC7-1E6DD889EB5E}"/>
    <dgm:cxn modelId="{688BD8A3-C6B5-4874-874D-E17962C27AD8}" type="presOf" srcId="{831C1A49-9C0D-4EC8-81CF-51B3F9857E48}" destId="{AD37AB70-28E6-4CB0-8703-FEFBDB9619EE}" srcOrd="1" destOrd="0" presId="urn:microsoft.com/office/officeart/2005/8/layout/hierarchy3"/>
    <dgm:cxn modelId="{E04B2114-F4C1-47F7-84C7-BF0617C93668}" type="presOf" srcId="{D395B7C6-0155-4EF8-9415-945875FA6EDD}" destId="{3D1CDDDC-0D9F-432D-88AE-9BAF12D18D80}" srcOrd="0" destOrd="0" presId="urn:microsoft.com/office/officeart/2005/8/layout/hierarchy3"/>
    <dgm:cxn modelId="{D2EF0674-A080-44DE-B1D9-9372E1557F39}" type="presOf" srcId="{FDEE8E24-8DC0-4395-A59B-46507D3FD951}" destId="{2AD8FDCA-9139-46C5-B260-2139547B530A}" srcOrd="0" destOrd="0" presId="urn:microsoft.com/office/officeart/2005/8/layout/hierarchy3"/>
    <dgm:cxn modelId="{46C77FFB-5E27-4CE3-95E0-7B1F190A27A9}" srcId="{831C1A49-9C0D-4EC8-81CF-51B3F9857E48}" destId="{03082720-F865-4CC4-9BA7-621834D9E9F2}" srcOrd="2" destOrd="0" parTransId="{D395B7C6-0155-4EF8-9415-945875FA6EDD}" sibTransId="{B6024908-EE9A-4F0C-B0EB-42DB4C9DB09D}"/>
    <dgm:cxn modelId="{7E244426-5734-46B7-9163-2730348A5A87}" type="presOf" srcId="{D34A6181-F0FA-4566-8270-848015A4BC2E}" destId="{9638236A-1596-4F08-9635-A2F42A44C518}" srcOrd="1" destOrd="0" presId="urn:microsoft.com/office/officeart/2005/8/layout/hierarchy3"/>
    <dgm:cxn modelId="{B721716E-B714-46A5-9615-F55C65428D3E}" type="presOf" srcId="{03082720-F865-4CC4-9BA7-621834D9E9F2}" destId="{16003EAB-EF8B-4BA0-9F60-F675E12951C7}" srcOrd="0" destOrd="0" presId="urn:microsoft.com/office/officeart/2005/8/layout/hierarchy3"/>
    <dgm:cxn modelId="{6D51316A-26C3-45CE-A2F3-10C00D26743E}" type="presOf" srcId="{E2464E1B-5669-4A27-ACBD-8B2E8A5DEB95}" destId="{0F59782F-8949-4181-B1FE-CB23247686EE}" srcOrd="0" destOrd="0" presId="urn:microsoft.com/office/officeart/2005/8/layout/hierarchy3"/>
    <dgm:cxn modelId="{DE3465E1-6B99-4BAE-8E75-90B09D311FA8}" type="presOf" srcId="{5FEE03D6-F584-471C-A59B-FF012F76AA72}" destId="{7E9C5249-71DE-4D5D-82AA-FA0179CB0CAB}" srcOrd="0" destOrd="0" presId="urn:microsoft.com/office/officeart/2005/8/layout/hierarchy3"/>
    <dgm:cxn modelId="{8E579AFE-06ED-46B6-8CF8-1A3B67C2C844}" srcId="{9AF47698-0DF2-4FBC-B5AB-60EC2951EEDC}" destId="{460DD4BC-FB0F-4997-8F36-5607C9D37199}" srcOrd="3" destOrd="0" parTransId="{EAAD27FA-F4AA-41F6-BBEF-EE5B658165ED}" sibTransId="{0B35CC39-A614-47C1-ACF5-F3D66A816E04}"/>
    <dgm:cxn modelId="{B8C2A0BD-072C-41E9-A931-12FC54AD72E0}" srcId="{35853641-93D4-470B-B077-5FBAD9D1C6A0}" destId="{8446C195-407C-4A20-B101-29B6B06C42F9}" srcOrd="1" destOrd="0" parTransId="{5FEE03D6-F584-471C-A59B-FF012F76AA72}" sibTransId="{3F6CA765-71DD-459C-A3DF-215509C62EA2}"/>
    <dgm:cxn modelId="{633040DA-CD2D-4C49-AB36-740C6ECAFE3A}" type="presOf" srcId="{D5348CAD-2BB1-4233-9658-164FD87ADDCE}" destId="{64106EA1-47A3-4B44-A61B-6C71FEF44C0E}" srcOrd="0" destOrd="0" presId="urn:microsoft.com/office/officeart/2005/8/layout/hierarchy3"/>
    <dgm:cxn modelId="{100D6A37-41D3-4DE2-B9DE-4CE402373A7A}" type="presOf" srcId="{8CDB3CB4-99CF-47DD-A6E5-BE51F819DA99}" destId="{9DA85ED6-842B-41B8-814F-F29B1105ADAF}" srcOrd="0" destOrd="0" presId="urn:microsoft.com/office/officeart/2005/8/layout/hierarchy3"/>
    <dgm:cxn modelId="{40F4BCE7-9525-4D1C-8186-68639BA355AF}" type="presOf" srcId="{3FAC2225-8303-45A8-BA24-F48DCCEFBEBD}" destId="{D790899B-3B79-44EB-85BC-8238E1C03D2D}" srcOrd="0" destOrd="0" presId="urn:microsoft.com/office/officeart/2005/8/layout/hierarchy3"/>
    <dgm:cxn modelId="{7CA9F8B1-47F2-42F4-99A4-67ED79948F40}" srcId="{9AF47698-0DF2-4FBC-B5AB-60EC2951EEDC}" destId="{D34A6181-F0FA-4566-8270-848015A4BC2E}" srcOrd="1" destOrd="0" parTransId="{EBCD22D0-DA68-46B1-AEA2-2FFBBE4A7F2F}" sibTransId="{B33B1791-23B2-4CCE-AA89-8C0799C79E2E}"/>
    <dgm:cxn modelId="{73C2329B-D3AA-4091-A8DA-316F8F45B13C}" type="presOf" srcId="{B59260F6-20C9-4828-B451-661A49D0FB27}" destId="{C882CC00-BB2C-477B-99F9-5F368818956E}" srcOrd="0" destOrd="0" presId="urn:microsoft.com/office/officeart/2005/8/layout/hierarchy3"/>
    <dgm:cxn modelId="{3835ACA6-5E08-454D-B935-43F8DA3B6467}" type="presOf" srcId="{9AF47698-0DF2-4FBC-B5AB-60EC2951EEDC}" destId="{F5FB13DA-736F-412C-BDA9-E46987964EEA}" srcOrd="0" destOrd="0" presId="urn:microsoft.com/office/officeart/2005/8/layout/hierarchy3"/>
    <dgm:cxn modelId="{28BDAB45-EC8A-4CE4-A2D7-E170A980BCAA}" srcId="{35853641-93D4-470B-B077-5FBAD9D1C6A0}" destId="{B59260F6-20C9-4828-B451-661A49D0FB27}" srcOrd="0" destOrd="0" parTransId="{E2464E1B-5669-4A27-ACBD-8B2E8A5DEB95}" sibTransId="{4E1878A7-8754-4459-945E-AE1B865E2CB8}"/>
    <dgm:cxn modelId="{83C9CBA8-11E3-4354-A13C-F1C30458DBF6}" type="presOf" srcId="{EABDD259-A470-4B60-99E0-210BB23115DC}" destId="{5C893ACC-8966-4E3B-A95B-301E336D9187}" srcOrd="0" destOrd="0" presId="urn:microsoft.com/office/officeart/2005/8/layout/hierarchy3"/>
    <dgm:cxn modelId="{9A168337-8336-4E81-BCC5-BF75C52EB5B3}" type="presOf" srcId="{35853641-93D4-470B-B077-5FBAD9D1C6A0}" destId="{A0E92472-3543-4ABF-B51C-5AC237C1875D}" srcOrd="1" destOrd="0" presId="urn:microsoft.com/office/officeart/2005/8/layout/hierarchy3"/>
    <dgm:cxn modelId="{12A41148-CCCC-409D-883F-9A550A5BB858}" srcId="{D34A6181-F0FA-4566-8270-848015A4BC2E}" destId="{8B3F7613-0C64-4F76-9226-0B5C52CAA6EB}" srcOrd="1" destOrd="0" parTransId="{D5348CAD-2BB1-4233-9658-164FD87ADDCE}" sibTransId="{783F55CF-EC92-4034-BA97-DCDD47AFB342}"/>
    <dgm:cxn modelId="{024FCC95-7D12-4C52-A307-FCD06F6F0C13}" srcId="{831C1A49-9C0D-4EC8-81CF-51B3F9857E48}" destId="{17689E01-4E0F-43CA-9B90-45705428F942}" srcOrd="1" destOrd="0" parTransId="{3B16818C-3747-43BB-8C9E-29696D728660}" sibTransId="{8A22FE65-EFB9-44C3-9B77-3CB12532B8DB}"/>
    <dgm:cxn modelId="{4BEBD7D3-D173-461B-A212-69080E03EAD1}" type="presOf" srcId="{86E7C986-71FD-4195-B01D-86F33BB15B51}" destId="{8D07B030-0C77-4A2E-9D1A-B030865192E4}" srcOrd="0" destOrd="0" presId="urn:microsoft.com/office/officeart/2005/8/layout/hierarchy3"/>
    <dgm:cxn modelId="{D67D6A2E-07AA-4BD3-9CD6-399E5177A851}" type="presOf" srcId="{35853641-93D4-470B-B077-5FBAD9D1C6A0}" destId="{E23E5406-4BD3-4504-973B-DB8B19679FF7}" srcOrd="0" destOrd="0" presId="urn:microsoft.com/office/officeart/2005/8/layout/hierarchy3"/>
    <dgm:cxn modelId="{C8FBB572-C993-4D21-BA02-9F01D57EF817}" type="presOf" srcId="{460DD4BC-FB0F-4997-8F36-5607C9D37199}" destId="{6D04B1A6-F1B8-4011-831B-B943DA05AD98}" srcOrd="0" destOrd="0" presId="urn:microsoft.com/office/officeart/2005/8/layout/hierarchy3"/>
    <dgm:cxn modelId="{E7FDD3D1-7160-4D5D-8B5E-CD1BE7C67083}" type="presOf" srcId="{76E9831F-6ED2-4A80-97FF-119B796DFE66}" destId="{C646E264-AC92-412F-82E5-4B81AAB854FC}" srcOrd="0" destOrd="0" presId="urn:microsoft.com/office/officeart/2005/8/layout/hierarchy3"/>
    <dgm:cxn modelId="{C321276A-DEA7-4866-BCA3-390597473BA3}" type="presOf" srcId="{8B3F7613-0C64-4F76-9226-0B5C52CAA6EB}" destId="{930710C5-9C3E-48AA-A2B2-BA6C509D1E6A}" srcOrd="0" destOrd="0" presId="urn:microsoft.com/office/officeart/2005/8/layout/hierarchy3"/>
    <dgm:cxn modelId="{A6515AC4-0316-4A42-B38F-090BB419A5DD}" type="presOf" srcId="{460DD4BC-FB0F-4997-8F36-5607C9D37199}" destId="{5A8ADD97-11BC-431B-8F57-78D03F14A596}" srcOrd="1" destOrd="0" presId="urn:microsoft.com/office/officeart/2005/8/layout/hierarchy3"/>
    <dgm:cxn modelId="{DB1FF3DC-3E96-4F2B-B39D-AE9612F2FF40}" type="presOf" srcId="{61A04AA2-0DA4-4C72-AF10-C873671E932D}" destId="{CE1E9D3E-680C-498F-B122-826B5AF8564C}" srcOrd="0" destOrd="0" presId="urn:microsoft.com/office/officeart/2005/8/layout/hierarchy3"/>
    <dgm:cxn modelId="{CD2A514A-5E18-4F69-A92A-B3ACAD519EE7}" type="presOf" srcId="{64BD3DA3-9D5F-4C1F-8BA5-BC5E8B6D3277}" destId="{A35AE4CC-B896-4B8D-ABA9-63A418BC2ABF}" srcOrd="0" destOrd="0" presId="urn:microsoft.com/office/officeart/2005/8/layout/hierarchy3"/>
    <dgm:cxn modelId="{8D962E98-A5BB-4C37-A83A-9E7D4522C027}" srcId="{831C1A49-9C0D-4EC8-81CF-51B3F9857E48}" destId="{86E7C986-71FD-4195-B01D-86F33BB15B51}" srcOrd="0" destOrd="0" parTransId="{FDEE8E24-8DC0-4395-A59B-46507D3FD951}" sibTransId="{09949064-92D4-435D-B0A1-22AD052AFF5C}"/>
    <dgm:cxn modelId="{0010AFBE-C5D1-486F-9D0A-10A344A41BE1}" type="presOf" srcId="{17689E01-4E0F-43CA-9B90-45705428F942}" destId="{455941BE-056A-48C4-84BB-0F6E6EBD534A}" srcOrd="0" destOrd="0" presId="urn:microsoft.com/office/officeart/2005/8/layout/hierarchy3"/>
    <dgm:cxn modelId="{BA5BE4B3-56CA-41DD-A014-3E903956159A}" type="presOf" srcId="{831C1A49-9C0D-4EC8-81CF-51B3F9857E48}" destId="{4C731B19-735E-4F62-843B-F0D17A027D0D}" srcOrd="0" destOrd="0" presId="urn:microsoft.com/office/officeart/2005/8/layout/hierarchy3"/>
    <dgm:cxn modelId="{DEB1FEFB-A38C-4535-B0EC-25FAC5D3008D}" type="presOf" srcId="{8446C195-407C-4A20-B101-29B6B06C42F9}" destId="{2F4A6885-9A09-48E5-8BC3-3CAB41AC3ED7}" srcOrd="0" destOrd="0" presId="urn:microsoft.com/office/officeart/2005/8/layout/hierarchy3"/>
    <dgm:cxn modelId="{B0A7E82E-FAD1-4537-A932-F66E1223E792}" srcId="{D34A6181-F0FA-4566-8270-848015A4BC2E}" destId="{3FAC2225-8303-45A8-BA24-F48DCCEFBEBD}" srcOrd="0" destOrd="0" parTransId="{64BD3DA3-9D5F-4C1F-8BA5-BC5E8B6D3277}" sibTransId="{FE6ABDFB-453D-489A-8C25-C7E2BAACFB31}"/>
    <dgm:cxn modelId="{765FEDBE-00D1-47AD-A3D1-E7E0C11ED7EC}" srcId="{D34A6181-F0FA-4566-8270-848015A4BC2E}" destId="{8CDB3CB4-99CF-47DD-A6E5-BE51F819DA99}" srcOrd="2" destOrd="0" parTransId="{61A04AA2-0DA4-4C72-AF10-C873671E932D}" sibTransId="{5E69B5C3-EE71-438A-866A-2B02CDAFF3B5}"/>
    <dgm:cxn modelId="{F29D17C5-25A1-4E0D-8924-892988277314}" srcId="{9AF47698-0DF2-4FBC-B5AB-60EC2951EEDC}" destId="{831C1A49-9C0D-4EC8-81CF-51B3F9857E48}" srcOrd="0" destOrd="0" parTransId="{F6155C5A-9574-4D96-8F75-E83FAFBA788A}" sibTransId="{CCAB8860-09BF-4AA6-844E-BC9C2A3D2080}"/>
    <dgm:cxn modelId="{BFB475C0-87C1-4363-BCD3-8E320684DD82}" type="presOf" srcId="{D34A6181-F0FA-4566-8270-848015A4BC2E}" destId="{723F05F4-DFF5-4A81-86E7-1FA30D17A3F7}" srcOrd="0" destOrd="0" presId="urn:microsoft.com/office/officeart/2005/8/layout/hierarchy3"/>
    <dgm:cxn modelId="{B6C681F7-203F-41E2-A437-9B8085245D35}" type="presParOf" srcId="{F5FB13DA-736F-412C-BDA9-E46987964EEA}" destId="{7ACA289F-0A94-4DDE-8489-6365DDAB604B}" srcOrd="0" destOrd="0" presId="urn:microsoft.com/office/officeart/2005/8/layout/hierarchy3"/>
    <dgm:cxn modelId="{EA7A6CC5-4A46-4743-8127-9373D0A6219D}" type="presParOf" srcId="{7ACA289F-0A94-4DDE-8489-6365DDAB604B}" destId="{1D496F1D-4356-4F95-9B6A-ECAFD96B1117}" srcOrd="0" destOrd="0" presId="urn:microsoft.com/office/officeart/2005/8/layout/hierarchy3"/>
    <dgm:cxn modelId="{3A39D62D-CC70-4EDB-9FCA-DAE1C06363DB}" type="presParOf" srcId="{1D496F1D-4356-4F95-9B6A-ECAFD96B1117}" destId="{4C731B19-735E-4F62-843B-F0D17A027D0D}" srcOrd="0" destOrd="0" presId="urn:microsoft.com/office/officeart/2005/8/layout/hierarchy3"/>
    <dgm:cxn modelId="{F55B57CE-B093-4943-8F6E-41BD1E6F9010}" type="presParOf" srcId="{1D496F1D-4356-4F95-9B6A-ECAFD96B1117}" destId="{AD37AB70-28E6-4CB0-8703-FEFBDB9619EE}" srcOrd="1" destOrd="0" presId="urn:microsoft.com/office/officeart/2005/8/layout/hierarchy3"/>
    <dgm:cxn modelId="{77B209AC-917A-4AAB-ABFE-4A580A19482F}" type="presParOf" srcId="{7ACA289F-0A94-4DDE-8489-6365DDAB604B}" destId="{37D37673-0665-4BC0-8F88-9420BB716C31}" srcOrd="1" destOrd="0" presId="urn:microsoft.com/office/officeart/2005/8/layout/hierarchy3"/>
    <dgm:cxn modelId="{6A84C19C-4C95-4D78-8F4A-4A207CF6D383}" type="presParOf" srcId="{37D37673-0665-4BC0-8F88-9420BB716C31}" destId="{2AD8FDCA-9139-46C5-B260-2139547B530A}" srcOrd="0" destOrd="0" presId="urn:microsoft.com/office/officeart/2005/8/layout/hierarchy3"/>
    <dgm:cxn modelId="{055002E1-BCDD-4144-B212-E2D2357DCB5A}" type="presParOf" srcId="{37D37673-0665-4BC0-8F88-9420BB716C31}" destId="{8D07B030-0C77-4A2E-9D1A-B030865192E4}" srcOrd="1" destOrd="0" presId="urn:microsoft.com/office/officeart/2005/8/layout/hierarchy3"/>
    <dgm:cxn modelId="{185B5DA7-7126-4BDA-9B9E-B28132756947}" type="presParOf" srcId="{37D37673-0665-4BC0-8F88-9420BB716C31}" destId="{E5987CF9-9614-4DE6-A9C3-95AD74CBA8BE}" srcOrd="2" destOrd="0" presId="urn:microsoft.com/office/officeart/2005/8/layout/hierarchy3"/>
    <dgm:cxn modelId="{96F6CC10-CE56-4A6A-BB6D-A78F38D1E762}" type="presParOf" srcId="{37D37673-0665-4BC0-8F88-9420BB716C31}" destId="{455941BE-056A-48C4-84BB-0F6E6EBD534A}" srcOrd="3" destOrd="0" presId="urn:microsoft.com/office/officeart/2005/8/layout/hierarchy3"/>
    <dgm:cxn modelId="{A55DC1F8-6FE0-4F10-AE89-458E3576743A}" type="presParOf" srcId="{37D37673-0665-4BC0-8F88-9420BB716C31}" destId="{3D1CDDDC-0D9F-432D-88AE-9BAF12D18D80}" srcOrd="4" destOrd="0" presId="urn:microsoft.com/office/officeart/2005/8/layout/hierarchy3"/>
    <dgm:cxn modelId="{03CFADDF-59B8-4C5D-B848-861E9222942C}" type="presParOf" srcId="{37D37673-0665-4BC0-8F88-9420BB716C31}" destId="{16003EAB-EF8B-4BA0-9F60-F675E12951C7}" srcOrd="5" destOrd="0" presId="urn:microsoft.com/office/officeart/2005/8/layout/hierarchy3"/>
    <dgm:cxn modelId="{7B80E4BB-42B8-4137-93D0-AD9D194485C0}" type="presParOf" srcId="{37D37673-0665-4BC0-8F88-9420BB716C31}" destId="{5C893ACC-8966-4E3B-A95B-301E336D9187}" srcOrd="6" destOrd="0" presId="urn:microsoft.com/office/officeart/2005/8/layout/hierarchy3"/>
    <dgm:cxn modelId="{9A984BC1-C131-4C70-988F-3D013C000BB9}" type="presParOf" srcId="{37D37673-0665-4BC0-8F88-9420BB716C31}" destId="{C646E264-AC92-412F-82E5-4B81AAB854FC}" srcOrd="7" destOrd="0" presId="urn:microsoft.com/office/officeart/2005/8/layout/hierarchy3"/>
    <dgm:cxn modelId="{0B0131AE-D8C1-4F83-A30A-D826A2BBD9EE}" type="presParOf" srcId="{F5FB13DA-736F-412C-BDA9-E46987964EEA}" destId="{5CA9A06D-4B5D-4238-9449-ED07402DD635}" srcOrd="1" destOrd="0" presId="urn:microsoft.com/office/officeart/2005/8/layout/hierarchy3"/>
    <dgm:cxn modelId="{B1278350-1FE9-4FB8-BAFE-B12337FC4E4C}" type="presParOf" srcId="{5CA9A06D-4B5D-4238-9449-ED07402DD635}" destId="{CCE8CCD9-4441-49D2-BCB8-1C00BC1A9A94}" srcOrd="0" destOrd="0" presId="urn:microsoft.com/office/officeart/2005/8/layout/hierarchy3"/>
    <dgm:cxn modelId="{9C2B549D-1F0B-4936-B9B2-C17F7D6EC82F}" type="presParOf" srcId="{CCE8CCD9-4441-49D2-BCB8-1C00BC1A9A94}" destId="{723F05F4-DFF5-4A81-86E7-1FA30D17A3F7}" srcOrd="0" destOrd="0" presId="urn:microsoft.com/office/officeart/2005/8/layout/hierarchy3"/>
    <dgm:cxn modelId="{607A1125-ED4F-4A54-BE1E-91983FC82D7F}" type="presParOf" srcId="{CCE8CCD9-4441-49D2-BCB8-1C00BC1A9A94}" destId="{9638236A-1596-4F08-9635-A2F42A44C518}" srcOrd="1" destOrd="0" presId="urn:microsoft.com/office/officeart/2005/8/layout/hierarchy3"/>
    <dgm:cxn modelId="{A7106F00-BF80-4ED9-A813-6AD524E4D440}" type="presParOf" srcId="{5CA9A06D-4B5D-4238-9449-ED07402DD635}" destId="{B8942A76-D440-488E-966E-4268ED31B370}" srcOrd="1" destOrd="0" presId="urn:microsoft.com/office/officeart/2005/8/layout/hierarchy3"/>
    <dgm:cxn modelId="{CB9282C6-4BF5-4A41-B39E-8AE1254C87DD}" type="presParOf" srcId="{B8942A76-D440-488E-966E-4268ED31B370}" destId="{A35AE4CC-B896-4B8D-ABA9-63A418BC2ABF}" srcOrd="0" destOrd="0" presId="urn:microsoft.com/office/officeart/2005/8/layout/hierarchy3"/>
    <dgm:cxn modelId="{BE67A0E6-11A5-471B-97EC-B4A2668A269D}" type="presParOf" srcId="{B8942A76-D440-488E-966E-4268ED31B370}" destId="{D790899B-3B79-44EB-85BC-8238E1C03D2D}" srcOrd="1" destOrd="0" presId="urn:microsoft.com/office/officeart/2005/8/layout/hierarchy3"/>
    <dgm:cxn modelId="{8C3DE0E7-142A-4F56-8435-37CC5CD17BAF}" type="presParOf" srcId="{B8942A76-D440-488E-966E-4268ED31B370}" destId="{64106EA1-47A3-4B44-A61B-6C71FEF44C0E}" srcOrd="2" destOrd="0" presId="urn:microsoft.com/office/officeart/2005/8/layout/hierarchy3"/>
    <dgm:cxn modelId="{2E9791FF-64A6-4247-913C-2BD02A271386}" type="presParOf" srcId="{B8942A76-D440-488E-966E-4268ED31B370}" destId="{930710C5-9C3E-48AA-A2B2-BA6C509D1E6A}" srcOrd="3" destOrd="0" presId="urn:microsoft.com/office/officeart/2005/8/layout/hierarchy3"/>
    <dgm:cxn modelId="{CEDB0E8A-C6D0-495B-90DF-0FFC83E4AD31}" type="presParOf" srcId="{B8942A76-D440-488E-966E-4268ED31B370}" destId="{CE1E9D3E-680C-498F-B122-826B5AF8564C}" srcOrd="4" destOrd="0" presId="urn:microsoft.com/office/officeart/2005/8/layout/hierarchy3"/>
    <dgm:cxn modelId="{0CAEA8AF-98F9-472B-8162-F6A080134EA9}" type="presParOf" srcId="{B8942A76-D440-488E-966E-4268ED31B370}" destId="{9DA85ED6-842B-41B8-814F-F29B1105ADAF}" srcOrd="5" destOrd="0" presId="urn:microsoft.com/office/officeart/2005/8/layout/hierarchy3"/>
    <dgm:cxn modelId="{4B79883B-FC52-47B0-A7FB-89FA845A0832}" type="presParOf" srcId="{F5FB13DA-736F-412C-BDA9-E46987964EEA}" destId="{93FB1D93-130C-41AA-964A-9D6575749741}" srcOrd="2" destOrd="0" presId="urn:microsoft.com/office/officeart/2005/8/layout/hierarchy3"/>
    <dgm:cxn modelId="{BDDB630B-889A-4067-8F91-CE0F5D73CE5F}" type="presParOf" srcId="{93FB1D93-130C-41AA-964A-9D6575749741}" destId="{9612C7AC-3931-4FD2-8B81-FC2E2901E434}" srcOrd="0" destOrd="0" presId="urn:microsoft.com/office/officeart/2005/8/layout/hierarchy3"/>
    <dgm:cxn modelId="{6A7A9FF2-F37F-4E0B-B80A-62D86313E61C}" type="presParOf" srcId="{9612C7AC-3931-4FD2-8B81-FC2E2901E434}" destId="{E23E5406-4BD3-4504-973B-DB8B19679FF7}" srcOrd="0" destOrd="0" presId="urn:microsoft.com/office/officeart/2005/8/layout/hierarchy3"/>
    <dgm:cxn modelId="{0BACEA14-70C1-4EFA-88AC-4B3889627738}" type="presParOf" srcId="{9612C7AC-3931-4FD2-8B81-FC2E2901E434}" destId="{A0E92472-3543-4ABF-B51C-5AC237C1875D}" srcOrd="1" destOrd="0" presId="urn:microsoft.com/office/officeart/2005/8/layout/hierarchy3"/>
    <dgm:cxn modelId="{F4D3DF8D-B56A-448F-AE16-784ACDF27279}" type="presParOf" srcId="{93FB1D93-130C-41AA-964A-9D6575749741}" destId="{5505DA13-70FB-45AE-8CE3-8A977A6A3EB3}" srcOrd="1" destOrd="0" presId="urn:microsoft.com/office/officeart/2005/8/layout/hierarchy3"/>
    <dgm:cxn modelId="{467ED249-AC34-47E4-824E-1ACEEA03D777}" type="presParOf" srcId="{5505DA13-70FB-45AE-8CE3-8A977A6A3EB3}" destId="{0F59782F-8949-4181-B1FE-CB23247686EE}" srcOrd="0" destOrd="0" presId="urn:microsoft.com/office/officeart/2005/8/layout/hierarchy3"/>
    <dgm:cxn modelId="{16985435-CA2D-4F6A-88BA-F2E7A1CAA130}" type="presParOf" srcId="{5505DA13-70FB-45AE-8CE3-8A977A6A3EB3}" destId="{C882CC00-BB2C-477B-99F9-5F368818956E}" srcOrd="1" destOrd="0" presId="urn:microsoft.com/office/officeart/2005/8/layout/hierarchy3"/>
    <dgm:cxn modelId="{18F6F162-ECE5-4830-B725-C4098CE33702}" type="presParOf" srcId="{5505DA13-70FB-45AE-8CE3-8A977A6A3EB3}" destId="{7E9C5249-71DE-4D5D-82AA-FA0179CB0CAB}" srcOrd="2" destOrd="0" presId="urn:microsoft.com/office/officeart/2005/8/layout/hierarchy3"/>
    <dgm:cxn modelId="{B2A66DFD-B3FC-411E-BBDE-CB14EAAB2752}" type="presParOf" srcId="{5505DA13-70FB-45AE-8CE3-8A977A6A3EB3}" destId="{2F4A6885-9A09-48E5-8BC3-3CAB41AC3ED7}" srcOrd="3" destOrd="0" presId="urn:microsoft.com/office/officeart/2005/8/layout/hierarchy3"/>
    <dgm:cxn modelId="{ED866309-6876-4FFA-ACAE-53249E12E310}" type="presParOf" srcId="{F5FB13DA-736F-412C-BDA9-E46987964EEA}" destId="{D2AD2722-0A37-46F5-A944-3F99948FAEC4}" srcOrd="3" destOrd="0" presId="urn:microsoft.com/office/officeart/2005/8/layout/hierarchy3"/>
    <dgm:cxn modelId="{C1D1B33C-FC5D-41AE-925A-46756D726B12}" type="presParOf" srcId="{D2AD2722-0A37-46F5-A944-3F99948FAEC4}" destId="{16264D05-6580-4CFD-AC13-844AE1B019DC}" srcOrd="0" destOrd="0" presId="urn:microsoft.com/office/officeart/2005/8/layout/hierarchy3"/>
    <dgm:cxn modelId="{000CEC5D-C02C-4ED6-949A-11B9C6C11B42}" type="presParOf" srcId="{16264D05-6580-4CFD-AC13-844AE1B019DC}" destId="{6D04B1A6-F1B8-4011-831B-B943DA05AD98}" srcOrd="0" destOrd="0" presId="urn:microsoft.com/office/officeart/2005/8/layout/hierarchy3"/>
    <dgm:cxn modelId="{A2E62A52-3A52-46D7-9561-F5C991CD898C}" type="presParOf" srcId="{16264D05-6580-4CFD-AC13-844AE1B019DC}" destId="{5A8ADD97-11BC-431B-8F57-78D03F14A596}" srcOrd="1" destOrd="0" presId="urn:microsoft.com/office/officeart/2005/8/layout/hierarchy3"/>
    <dgm:cxn modelId="{20F7BA84-B222-4751-A53D-A868E1F50171}" type="presParOf" srcId="{D2AD2722-0A37-46F5-A944-3F99948FAEC4}" destId="{2FB469C6-24DA-467A-90D3-E458E40E9213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16F4608-07BB-49D7-B6B3-4D0C651CF9BD}" type="doc">
      <dgm:prSet loTypeId="urn:microsoft.com/office/officeart/2005/8/layout/radial5" loCatId="cycle" qsTypeId="urn:microsoft.com/office/officeart/2005/8/quickstyle/3d5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64CA347-0BDC-4410-A953-3CDFF50FD65C}">
      <dgm:prSet phldrT="[Текст]"/>
      <dgm:spPr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</a:gradFill>
      </dgm:spPr>
      <dgm:t>
        <a:bodyPr/>
        <a:lstStyle/>
        <a:p>
          <a:r>
            <a:rPr lang="ru-RU" dirty="0" smtClean="0">
              <a:latin typeface="Book Antiqua" panose="02040602050305030304" pitchFamily="18" charset="0"/>
            </a:rPr>
            <a:t>СОГЛАШЕНИЕ О ТРЕБОВАНИЯХ </a:t>
          </a:r>
          <a:endParaRPr lang="ru-RU" dirty="0">
            <a:latin typeface="Book Antiqua" panose="02040602050305030304" pitchFamily="18" charset="0"/>
          </a:endParaRPr>
        </a:p>
      </dgm:t>
    </dgm:pt>
    <dgm:pt modelId="{F2640C03-643E-4FE0-9261-0DA5857B1D64}" type="parTrans" cxnId="{22268E03-0BBA-4CAA-8001-0012AFCB1D0E}">
      <dgm:prSet/>
      <dgm:spPr/>
      <dgm:t>
        <a:bodyPr/>
        <a:lstStyle/>
        <a:p>
          <a:endParaRPr lang="ru-RU"/>
        </a:p>
      </dgm:t>
    </dgm:pt>
    <dgm:pt modelId="{553708A8-2A8D-4D34-AEA4-32C1D897ED27}" type="sibTrans" cxnId="{22268E03-0BBA-4CAA-8001-0012AFCB1D0E}">
      <dgm:prSet/>
      <dgm:spPr/>
      <dgm:t>
        <a:bodyPr/>
        <a:lstStyle/>
        <a:p>
          <a:endParaRPr lang="ru-RU"/>
        </a:p>
      </dgm:t>
    </dgm:pt>
    <dgm:pt modelId="{92F6D31D-ACCE-474B-88D5-3ABB9813130A}">
      <dgm:prSet phldrT="[Текст]" custT="1"/>
      <dgm:spPr>
        <a:solidFill>
          <a:srgbClr val="0099CC"/>
        </a:solidFill>
      </dgm:spPr>
      <dgm:t>
        <a:bodyPr/>
        <a:lstStyle/>
        <a:p>
          <a:r>
            <a:rPr lang="ru-RU" sz="1100" dirty="0" smtClean="0">
              <a:solidFill>
                <a:schemeClr val="tx1"/>
              </a:solidFill>
              <a:latin typeface="Book Antiqua" panose="02040602050305030304" pitchFamily="18" charset="0"/>
            </a:rPr>
            <a:t>ПРИНЯТИЕ СОГЛАСОВАННЫХ ТРЕБОВАНИЙ К УЧАСТНИКАМ ФР В ОТНОШЕНИИ ИХ СОЗДАНИЯ, УЧРЕЖДЕНИЯ И ДЕЯТЕЛЬНОСТИ</a:t>
          </a:r>
          <a:endParaRPr lang="ru-RU" sz="1100" dirty="0">
            <a:solidFill>
              <a:schemeClr val="tx1"/>
            </a:solidFill>
            <a:latin typeface="Book Antiqua" panose="02040602050305030304" pitchFamily="18" charset="0"/>
          </a:endParaRPr>
        </a:p>
      </dgm:t>
    </dgm:pt>
    <dgm:pt modelId="{56C800C3-504A-4312-AE41-1FBFCC211277}" type="parTrans" cxnId="{20B0F3D2-EA84-461C-95F9-4ABEBC98AE84}">
      <dgm:prSet/>
      <dgm:spPr/>
      <dgm:t>
        <a:bodyPr/>
        <a:lstStyle/>
        <a:p>
          <a:endParaRPr lang="ru-RU"/>
        </a:p>
      </dgm:t>
    </dgm:pt>
    <dgm:pt modelId="{EF4F8AE3-CD3A-468B-AA26-39DD6B74F29E}" type="sibTrans" cxnId="{20B0F3D2-EA84-461C-95F9-4ABEBC98AE84}">
      <dgm:prSet/>
      <dgm:spPr/>
      <dgm:t>
        <a:bodyPr/>
        <a:lstStyle/>
        <a:p>
          <a:endParaRPr lang="ru-RU"/>
        </a:p>
      </dgm:t>
    </dgm:pt>
    <dgm:pt modelId="{AAF02D6C-1508-4638-A3FD-FF5CFA55D14A}">
      <dgm:prSet phldrT="[Текст]" custT="1"/>
      <dgm:spPr>
        <a:solidFill>
          <a:srgbClr val="0099CC"/>
        </a:solidFill>
      </dgm:spPr>
      <dgm:t>
        <a:bodyPr/>
        <a:lstStyle/>
        <a:p>
          <a:r>
            <a:rPr lang="ru-RU" sz="1100" dirty="0" smtClean="0">
              <a:solidFill>
                <a:schemeClr val="tx1"/>
              </a:solidFill>
              <a:latin typeface="Book Antiqua" panose="02040602050305030304" pitchFamily="18" charset="0"/>
            </a:rPr>
            <a:t>ОБЕСПЕЧЕНИЕ УСЛОВИЙ ДЛЯ ВЗАИМНОГО ПРИЗНАНИЯ ЛИЦЕНЗИЙ</a:t>
          </a:r>
          <a:endParaRPr lang="ru-RU" sz="1100" dirty="0">
            <a:solidFill>
              <a:schemeClr val="tx1"/>
            </a:solidFill>
            <a:latin typeface="Book Antiqua" panose="02040602050305030304" pitchFamily="18" charset="0"/>
          </a:endParaRPr>
        </a:p>
      </dgm:t>
    </dgm:pt>
    <dgm:pt modelId="{808EF67D-87DA-4229-A21D-93A3FF482503}" type="parTrans" cxnId="{E67ADDF7-0CCC-4736-B3CA-53298FD385E3}">
      <dgm:prSet/>
      <dgm:spPr/>
      <dgm:t>
        <a:bodyPr/>
        <a:lstStyle/>
        <a:p>
          <a:endParaRPr lang="ru-RU"/>
        </a:p>
      </dgm:t>
    </dgm:pt>
    <dgm:pt modelId="{4F07CB25-60A7-4496-8029-EE7C582FA8D2}" type="sibTrans" cxnId="{E67ADDF7-0CCC-4736-B3CA-53298FD385E3}">
      <dgm:prSet/>
      <dgm:spPr/>
      <dgm:t>
        <a:bodyPr/>
        <a:lstStyle/>
        <a:p>
          <a:endParaRPr lang="ru-RU"/>
        </a:p>
      </dgm:t>
    </dgm:pt>
    <dgm:pt modelId="{2A837EA4-0A7D-44C5-A6C1-CC2A0AFFFA6F}">
      <dgm:prSet phldrT="[Текст]" custT="1"/>
      <dgm:spPr>
        <a:solidFill>
          <a:srgbClr val="0099CC"/>
        </a:solidFill>
      </dgm:spPr>
      <dgm:t>
        <a:bodyPr/>
        <a:lstStyle/>
        <a:p>
          <a:r>
            <a:rPr lang="ru-RU" sz="1100" dirty="0" smtClean="0">
              <a:solidFill>
                <a:schemeClr val="tx1"/>
              </a:solidFill>
              <a:latin typeface="Book Antiqua" panose="02040602050305030304" pitchFamily="18" charset="0"/>
            </a:rPr>
            <a:t>ОБЕСПЕЧЕНИЕ НЕДИСКРИМИНАЦИОННОГО ДОСТУПА НА ФИНАНСОВЫЕ РЫНКИ</a:t>
          </a:r>
          <a:endParaRPr lang="ru-RU" sz="1100" dirty="0">
            <a:solidFill>
              <a:schemeClr val="tx1"/>
            </a:solidFill>
            <a:latin typeface="Book Antiqua" panose="02040602050305030304" pitchFamily="18" charset="0"/>
          </a:endParaRPr>
        </a:p>
      </dgm:t>
    </dgm:pt>
    <dgm:pt modelId="{12CD33F4-4A7D-4C26-9B7A-9C06B136504B}" type="parTrans" cxnId="{53E95A26-8766-4F20-B607-0A930FA69898}">
      <dgm:prSet/>
      <dgm:spPr/>
      <dgm:t>
        <a:bodyPr/>
        <a:lstStyle/>
        <a:p>
          <a:endParaRPr lang="ru-RU"/>
        </a:p>
      </dgm:t>
    </dgm:pt>
    <dgm:pt modelId="{E7F19E6F-75AA-454C-AE72-F15C242C54B6}" type="sibTrans" cxnId="{53E95A26-8766-4F20-B607-0A930FA69898}">
      <dgm:prSet/>
      <dgm:spPr/>
      <dgm:t>
        <a:bodyPr/>
        <a:lstStyle/>
        <a:p>
          <a:endParaRPr lang="ru-RU"/>
        </a:p>
      </dgm:t>
    </dgm:pt>
    <dgm:pt modelId="{DCA9A0A8-8351-4C7B-A54F-6B5B2F7F652B}">
      <dgm:prSet phldrT="[Текст]" custT="1"/>
      <dgm:spPr>
        <a:solidFill>
          <a:srgbClr val="0099CC"/>
        </a:solidFill>
      </dgm:spPr>
      <dgm:t>
        <a:bodyPr/>
        <a:lstStyle/>
        <a:p>
          <a:r>
            <a:rPr lang="ru-RU" sz="1100" dirty="0" smtClean="0">
              <a:solidFill>
                <a:schemeClr val="tx1"/>
              </a:solidFill>
              <a:latin typeface="Book Antiqua" panose="02040602050305030304" pitchFamily="18" charset="0"/>
            </a:rPr>
            <a:t>СОГЛАСОВАНИЕ ЕДИНЫХ ТРЕБОВАНИЙ ПО ЗАЩИТЕ ПРАВ И ИНТЕРЕСОВ ПОТРЕБИТЕЛЕЙ ФИН. УСЛУГ</a:t>
          </a:r>
          <a:endParaRPr lang="ru-RU" sz="1100" dirty="0">
            <a:solidFill>
              <a:schemeClr val="tx1"/>
            </a:solidFill>
            <a:latin typeface="Book Antiqua" panose="02040602050305030304" pitchFamily="18" charset="0"/>
          </a:endParaRPr>
        </a:p>
      </dgm:t>
    </dgm:pt>
    <dgm:pt modelId="{3B8F912E-0BB0-4DE0-8BBD-BF4FB0BCD7C5}" type="parTrans" cxnId="{5033FA2E-C209-421D-820A-D6A42EA4D48A}">
      <dgm:prSet/>
      <dgm:spPr/>
      <dgm:t>
        <a:bodyPr/>
        <a:lstStyle/>
        <a:p>
          <a:endParaRPr lang="ru-RU"/>
        </a:p>
      </dgm:t>
    </dgm:pt>
    <dgm:pt modelId="{3700E265-1E77-4BFE-BEBC-88179AD5B643}" type="sibTrans" cxnId="{5033FA2E-C209-421D-820A-D6A42EA4D48A}">
      <dgm:prSet/>
      <dgm:spPr/>
      <dgm:t>
        <a:bodyPr/>
        <a:lstStyle/>
        <a:p>
          <a:endParaRPr lang="ru-RU"/>
        </a:p>
      </dgm:t>
    </dgm:pt>
    <dgm:pt modelId="{46089917-4508-43D2-AA80-7B7EE4EA9B88}">
      <dgm:prSet custT="1"/>
      <dgm:spPr>
        <a:solidFill>
          <a:srgbClr val="0099CC"/>
        </a:solidFill>
      </dgm:spPr>
      <dgm:t>
        <a:bodyPr/>
        <a:lstStyle/>
        <a:p>
          <a:r>
            <a:rPr lang="ru-RU" sz="1100" dirty="0" smtClean="0">
              <a:solidFill>
                <a:schemeClr val="tx1"/>
              </a:solidFill>
              <a:latin typeface="Book Antiqua" panose="02040602050305030304" pitchFamily="18" charset="0"/>
            </a:rPr>
            <a:t>ОПРЕДЕЛЯЕТ НАПРАВЛЕНИЕ, ПОРЯДОК И СРОКИ ГАРМОНИЗАЦИИ НАЦИОНАЛЬНЫХ ЗАКОНОДАТЕЛЬСТВ В ФИНАНСОВОЙ СФЕРЕ (БАНКИ, СТРАХОВАНИЕ, РЦБ)</a:t>
          </a:r>
        </a:p>
      </dgm:t>
    </dgm:pt>
    <dgm:pt modelId="{D13338E6-00A6-489B-95C4-8870C221C0B8}" type="parTrans" cxnId="{97380AE9-2BFD-4DA6-8415-5AEAEDEE49B5}">
      <dgm:prSet/>
      <dgm:spPr/>
      <dgm:t>
        <a:bodyPr/>
        <a:lstStyle/>
        <a:p>
          <a:endParaRPr lang="ru-RU"/>
        </a:p>
      </dgm:t>
    </dgm:pt>
    <dgm:pt modelId="{67269975-DAFD-45DD-A103-A0B56B9B4B09}" type="sibTrans" cxnId="{97380AE9-2BFD-4DA6-8415-5AEAEDEE49B5}">
      <dgm:prSet/>
      <dgm:spPr/>
      <dgm:t>
        <a:bodyPr/>
        <a:lstStyle/>
        <a:p>
          <a:endParaRPr lang="ru-RU"/>
        </a:p>
      </dgm:t>
    </dgm:pt>
    <dgm:pt modelId="{CAFB2184-EC15-488F-BCB3-96D001314BB8}" type="pres">
      <dgm:prSet presAssocID="{416F4608-07BB-49D7-B6B3-4D0C651CF9BD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492F7DE-73FF-431E-A248-7C7D048B3432}" type="pres">
      <dgm:prSet presAssocID="{A64CA347-0BDC-4410-A953-3CDFF50FD65C}" presName="centerShape" presStyleLbl="node0" presStyleIdx="0" presStyleCnt="1" custScaleX="113317" custScaleY="108059"/>
      <dgm:spPr/>
      <dgm:t>
        <a:bodyPr/>
        <a:lstStyle/>
        <a:p>
          <a:endParaRPr lang="ru-RU"/>
        </a:p>
      </dgm:t>
    </dgm:pt>
    <dgm:pt modelId="{8347B773-87D3-4D14-83EC-FE79A41C025D}" type="pres">
      <dgm:prSet presAssocID="{56C800C3-504A-4312-AE41-1FBFCC211277}" presName="parTrans" presStyleLbl="sibTrans2D1" presStyleIdx="0" presStyleCnt="5" custScaleX="123635"/>
      <dgm:spPr/>
      <dgm:t>
        <a:bodyPr/>
        <a:lstStyle/>
        <a:p>
          <a:endParaRPr lang="ru-RU"/>
        </a:p>
      </dgm:t>
    </dgm:pt>
    <dgm:pt modelId="{8950C4AC-0C6A-462D-BBDE-B8119985EEF7}" type="pres">
      <dgm:prSet presAssocID="{56C800C3-504A-4312-AE41-1FBFCC211277}" presName="connectorText" presStyleLbl="sibTrans2D1" presStyleIdx="0" presStyleCnt="5"/>
      <dgm:spPr/>
      <dgm:t>
        <a:bodyPr/>
        <a:lstStyle/>
        <a:p>
          <a:endParaRPr lang="ru-RU"/>
        </a:p>
      </dgm:t>
    </dgm:pt>
    <dgm:pt modelId="{FA704D77-E79D-4D13-8D92-DCF265207CBF}" type="pres">
      <dgm:prSet presAssocID="{92F6D31D-ACCE-474B-88D5-3ABB9813130A}" presName="node" presStyleLbl="node1" presStyleIdx="0" presStyleCnt="5" custScaleX="226593" custScaleY="95073" custRadScaleRad="90485" custRadScaleInc="-388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E8A0DA5-1E05-4D2E-B8E3-17F587A096C6}" type="pres">
      <dgm:prSet presAssocID="{808EF67D-87DA-4229-A21D-93A3FF482503}" presName="parTrans" presStyleLbl="sibTrans2D1" presStyleIdx="1" presStyleCnt="5" custScaleX="150361"/>
      <dgm:spPr/>
      <dgm:t>
        <a:bodyPr/>
        <a:lstStyle/>
        <a:p>
          <a:endParaRPr lang="ru-RU"/>
        </a:p>
      </dgm:t>
    </dgm:pt>
    <dgm:pt modelId="{EBCE3BA6-4E8E-4474-BCF3-AD1571631544}" type="pres">
      <dgm:prSet presAssocID="{808EF67D-87DA-4229-A21D-93A3FF482503}" presName="connectorText" presStyleLbl="sibTrans2D1" presStyleIdx="1" presStyleCnt="5"/>
      <dgm:spPr/>
      <dgm:t>
        <a:bodyPr/>
        <a:lstStyle/>
        <a:p>
          <a:endParaRPr lang="ru-RU"/>
        </a:p>
      </dgm:t>
    </dgm:pt>
    <dgm:pt modelId="{75220C0D-BA3C-4E78-B3EA-CC9BE0A8833C}" type="pres">
      <dgm:prSet presAssocID="{AAF02D6C-1508-4638-A3FD-FF5CFA55D14A}" presName="node" presStyleLbl="node1" presStyleIdx="1" presStyleCnt="5" custScaleX="126778" custScaleY="177482" custRadScaleRad="100461" custRadScaleInc="1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44B595B-69BF-4FC0-B29F-5CCB6FFEAADD}" type="pres">
      <dgm:prSet presAssocID="{12CD33F4-4A7D-4C26-9B7A-9C06B136504B}" presName="parTrans" presStyleLbl="sibTrans2D1" presStyleIdx="2" presStyleCnt="5" custScaleX="155587"/>
      <dgm:spPr/>
      <dgm:t>
        <a:bodyPr/>
        <a:lstStyle/>
        <a:p>
          <a:endParaRPr lang="ru-RU"/>
        </a:p>
      </dgm:t>
    </dgm:pt>
    <dgm:pt modelId="{9F1D02DF-6E3A-4ED6-8A37-412341C16354}" type="pres">
      <dgm:prSet presAssocID="{12CD33F4-4A7D-4C26-9B7A-9C06B136504B}" presName="connectorText" presStyleLbl="sibTrans2D1" presStyleIdx="2" presStyleCnt="5"/>
      <dgm:spPr/>
      <dgm:t>
        <a:bodyPr/>
        <a:lstStyle/>
        <a:p>
          <a:endParaRPr lang="ru-RU"/>
        </a:p>
      </dgm:t>
    </dgm:pt>
    <dgm:pt modelId="{6E0FCB20-4EEB-40D8-8906-E5B16181C30C}" type="pres">
      <dgm:prSet presAssocID="{2A837EA4-0A7D-44C5-A6C1-CC2A0AFFFA6F}" presName="node" presStyleLbl="node1" presStyleIdx="2" presStyleCnt="5" custScaleX="212511" custScaleY="141738" custRadScaleRad="111032" custRadScaleInc="-3128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AE4B27-8F1B-4075-A0CE-AF4D2511FFB1}" type="pres">
      <dgm:prSet presAssocID="{3B8F912E-0BB0-4DE0-8BBD-BF4FB0BCD7C5}" presName="parTrans" presStyleLbl="sibTrans2D1" presStyleIdx="3" presStyleCnt="5" custScaleX="167567"/>
      <dgm:spPr/>
      <dgm:t>
        <a:bodyPr/>
        <a:lstStyle/>
        <a:p>
          <a:endParaRPr lang="ru-RU"/>
        </a:p>
      </dgm:t>
    </dgm:pt>
    <dgm:pt modelId="{E3F18194-FE7E-4A67-B6AE-653EF70BEDA5}" type="pres">
      <dgm:prSet presAssocID="{3B8F912E-0BB0-4DE0-8BBD-BF4FB0BCD7C5}" presName="connectorText" presStyleLbl="sibTrans2D1" presStyleIdx="3" presStyleCnt="5"/>
      <dgm:spPr/>
      <dgm:t>
        <a:bodyPr/>
        <a:lstStyle/>
        <a:p>
          <a:endParaRPr lang="ru-RU"/>
        </a:p>
      </dgm:t>
    </dgm:pt>
    <dgm:pt modelId="{6CEA1BB9-EE9D-494B-87E1-3B9FE9D9563F}" type="pres">
      <dgm:prSet presAssocID="{DCA9A0A8-8351-4C7B-A54F-6B5B2F7F652B}" presName="node" presStyleLbl="node1" presStyleIdx="3" presStyleCnt="5" custScaleX="177412" custScaleY="130783" custRadScaleRad="119249" custRadScaleInc="3366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976C174-FE16-45BA-9334-82CB8FFB7318}" type="pres">
      <dgm:prSet presAssocID="{D13338E6-00A6-489B-95C4-8870C221C0B8}" presName="parTrans" presStyleLbl="sibTrans2D1" presStyleIdx="4" presStyleCnt="5" custScaleX="188597"/>
      <dgm:spPr/>
      <dgm:t>
        <a:bodyPr/>
        <a:lstStyle/>
        <a:p>
          <a:endParaRPr lang="ru-RU"/>
        </a:p>
      </dgm:t>
    </dgm:pt>
    <dgm:pt modelId="{30E10E9D-F159-4561-AF47-A0BB865BB205}" type="pres">
      <dgm:prSet presAssocID="{D13338E6-00A6-489B-95C4-8870C221C0B8}" presName="connectorText" presStyleLbl="sibTrans2D1" presStyleIdx="4" presStyleCnt="5"/>
      <dgm:spPr/>
      <dgm:t>
        <a:bodyPr/>
        <a:lstStyle/>
        <a:p>
          <a:endParaRPr lang="ru-RU"/>
        </a:p>
      </dgm:t>
    </dgm:pt>
    <dgm:pt modelId="{4BBC2333-E37F-4D57-9A7E-3627C386AA86}" type="pres">
      <dgm:prSet presAssocID="{46089917-4508-43D2-AA80-7B7EE4EA9B88}" presName="node" presStyleLbl="node1" presStyleIdx="4" presStyleCnt="5" custScaleX="139155" custScaleY="154709" custRadScaleRad="108342" custRadScaleInc="-729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2532F63-EB72-47E2-858E-4132FC1E8CC0}" type="presOf" srcId="{808EF67D-87DA-4229-A21D-93A3FF482503}" destId="{FE8A0DA5-1E05-4D2E-B8E3-17F587A096C6}" srcOrd="0" destOrd="0" presId="urn:microsoft.com/office/officeart/2005/8/layout/radial5"/>
    <dgm:cxn modelId="{8BF907EC-4D5E-4271-AC44-230B0B198CCA}" type="presOf" srcId="{D13338E6-00A6-489B-95C4-8870C221C0B8}" destId="{0976C174-FE16-45BA-9334-82CB8FFB7318}" srcOrd="0" destOrd="0" presId="urn:microsoft.com/office/officeart/2005/8/layout/radial5"/>
    <dgm:cxn modelId="{580CA8B8-4178-4D65-9C4C-9D5043F33028}" type="presOf" srcId="{A64CA347-0BDC-4410-A953-3CDFF50FD65C}" destId="{0492F7DE-73FF-431E-A248-7C7D048B3432}" srcOrd="0" destOrd="0" presId="urn:microsoft.com/office/officeart/2005/8/layout/radial5"/>
    <dgm:cxn modelId="{20B0F3D2-EA84-461C-95F9-4ABEBC98AE84}" srcId="{A64CA347-0BDC-4410-A953-3CDFF50FD65C}" destId="{92F6D31D-ACCE-474B-88D5-3ABB9813130A}" srcOrd="0" destOrd="0" parTransId="{56C800C3-504A-4312-AE41-1FBFCC211277}" sibTransId="{EF4F8AE3-CD3A-468B-AA26-39DD6B74F29E}"/>
    <dgm:cxn modelId="{573850A9-AF94-473D-B613-7D61920EE9DE}" type="presOf" srcId="{46089917-4508-43D2-AA80-7B7EE4EA9B88}" destId="{4BBC2333-E37F-4D57-9A7E-3627C386AA86}" srcOrd="0" destOrd="0" presId="urn:microsoft.com/office/officeart/2005/8/layout/radial5"/>
    <dgm:cxn modelId="{E67ADDF7-0CCC-4736-B3CA-53298FD385E3}" srcId="{A64CA347-0BDC-4410-A953-3CDFF50FD65C}" destId="{AAF02D6C-1508-4638-A3FD-FF5CFA55D14A}" srcOrd="1" destOrd="0" parTransId="{808EF67D-87DA-4229-A21D-93A3FF482503}" sibTransId="{4F07CB25-60A7-4496-8029-EE7C582FA8D2}"/>
    <dgm:cxn modelId="{3F569FD2-8911-40FF-8BD3-697B1A95DA29}" type="presOf" srcId="{808EF67D-87DA-4229-A21D-93A3FF482503}" destId="{EBCE3BA6-4E8E-4474-BCF3-AD1571631544}" srcOrd="1" destOrd="0" presId="urn:microsoft.com/office/officeart/2005/8/layout/radial5"/>
    <dgm:cxn modelId="{B7E8D2F2-D94D-4F98-A248-60EF6EE936F3}" type="presOf" srcId="{2A837EA4-0A7D-44C5-A6C1-CC2A0AFFFA6F}" destId="{6E0FCB20-4EEB-40D8-8906-E5B16181C30C}" srcOrd="0" destOrd="0" presId="urn:microsoft.com/office/officeart/2005/8/layout/radial5"/>
    <dgm:cxn modelId="{158E21C6-0AF2-45AD-8953-9C6973DC3808}" type="presOf" srcId="{3B8F912E-0BB0-4DE0-8BBD-BF4FB0BCD7C5}" destId="{DCAE4B27-8F1B-4075-A0CE-AF4D2511FFB1}" srcOrd="0" destOrd="0" presId="urn:microsoft.com/office/officeart/2005/8/layout/radial5"/>
    <dgm:cxn modelId="{81BAD20B-E9DB-4931-8446-87B14EB65F84}" type="presOf" srcId="{56C800C3-504A-4312-AE41-1FBFCC211277}" destId="{8950C4AC-0C6A-462D-BBDE-B8119985EEF7}" srcOrd="1" destOrd="0" presId="urn:microsoft.com/office/officeart/2005/8/layout/radial5"/>
    <dgm:cxn modelId="{43452903-BEA2-49B5-ABA9-DCDE02B67802}" type="presOf" srcId="{3B8F912E-0BB0-4DE0-8BBD-BF4FB0BCD7C5}" destId="{E3F18194-FE7E-4A67-B6AE-653EF70BEDA5}" srcOrd="1" destOrd="0" presId="urn:microsoft.com/office/officeart/2005/8/layout/radial5"/>
    <dgm:cxn modelId="{066DB4B6-4A90-4A17-AAAD-C9114D188E64}" type="presOf" srcId="{12CD33F4-4A7D-4C26-9B7A-9C06B136504B}" destId="{9F1D02DF-6E3A-4ED6-8A37-412341C16354}" srcOrd="1" destOrd="0" presId="urn:microsoft.com/office/officeart/2005/8/layout/radial5"/>
    <dgm:cxn modelId="{53E95A26-8766-4F20-B607-0A930FA69898}" srcId="{A64CA347-0BDC-4410-A953-3CDFF50FD65C}" destId="{2A837EA4-0A7D-44C5-A6C1-CC2A0AFFFA6F}" srcOrd="2" destOrd="0" parTransId="{12CD33F4-4A7D-4C26-9B7A-9C06B136504B}" sibTransId="{E7F19E6F-75AA-454C-AE72-F15C242C54B6}"/>
    <dgm:cxn modelId="{7D740C7A-78C2-41F4-A72C-AF545374D5BA}" type="presOf" srcId="{AAF02D6C-1508-4638-A3FD-FF5CFA55D14A}" destId="{75220C0D-BA3C-4E78-B3EA-CC9BE0A8833C}" srcOrd="0" destOrd="0" presId="urn:microsoft.com/office/officeart/2005/8/layout/radial5"/>
    <dgm:cxn modelId="{7D86AF88-8F70-4381-8C74-FBA885EBA11D}" type="presOf" srcId="{92F6D31D-ACCE-474B-88D5-3ABB9813130A}" destId="{FA704D77-E79D-4D13-8D92-DCF265207CBF}" srcOrd="0" destOrd="0" presId="urn:microsoft.com/office/officeart/2005/8/layout/radial5"/>
    <dgm:cxn modelId="{97380AE9-2BFD-4DA6-8415-5AEAEDEE49B5}" srcId="{A64CA347-0BDC-4410-A953-3CDFF50FD65C}" destId="{46089917-4508-43D2-AA80-7B7EE4EA9B88}" srcOrd="4" destOrd="0" parTransId="{D13338E6-00A6-489B-95C4-8870C221C0B8}" sibTransId="{67269975-DAFD-45DD-A103-A0B56B9B4B09}"/>
    <dgm:cxn modelId="{A20D6DA9-1571-4761-A17E-9529BEBFDBD4}" type="presOf" srcId="{D13338E6-00A6-489B-95C4-8870C221C0B8}" destId="{30E10E9D-F159-4561-AF47-A0BB865BB205}" srcOrd="1" destOrd="0" presId="urn:microsoft.com/office/officeart/2005/8/layout/radial5"/>
    <dgm:cxn modelId="{22268E03-0BBA-4CAA-8001-0012AFCB1D0E}" srcId="{416F4608-07BB-49D7-B6B3-4D0C651CF9BD}" destId="{A64CA347-0BDC-4410-A953-3CDFF50FD65C}" srcOrd="0" destOrd="0" parTransId="{F2640C03-643E-4FE0-9261-0DA5857B1D64}" sibTransId="{553708A8-2A8D-4D34-AEA4-32C1D897ED27}"/>
    <dgm:cxn modelId="{10FCA874-7768-4C59-A92B-9A414380CE74}" type="presOf" srcId="{56C800C3-504A-4312-AE41-1FBFCC211277}" destId="{8347B773-87D3-4D14-83EC-FE79A41C025D}" srcOrd="0" destOrd="0" presId="urn:microsoft.com/office/officeart/2005/8/layout/radial5"/>
    <dgm:cxn modelId="{301DACAF-C558-439C-B8CA-181232AE4A8C}" type="presOf" srcId="{12CD33F4-4A7D-4C26-9B7A-9C06B136504B}" destId="{644B595B-69BF-4FC0-B29F-5CCB6FFEAADD}" srcOrd="0" destOrd="0" presId="urn:microsoft.com/office/officeart/2005/8/layout/radial5"/>
    <dgm:cxn modelId="{5033FA2E-C209-421D-820A-D6A42EA4D48A}" srcId="{A64CA347-0BDC-4410-A953-3CDFF50FD65C}" destId="{DCA9A0A8-8351-4C7B-A54F-6B5B2F7F652B}" srcOrd="3" destOrd="0" parTransId="{3B8F912E-0BB0-4DE0-8BBD-BF4FB0BCD7C5}" sibTransId="{3700E265-1E77-4BFE-BEBC-88179AD5B643}"/>
    <dgm:cxn modelId="{B39E8488-3CF3-4028-8526-E5E7DE58A7C7}" type="presOf" srcId="{416F4608-07BB-49D7-B6B3-4D0C651CF9BD}" destId="{CAFB2184-EC15-488F-BCB3-96D001314BB8}" srcOrd="0" destOrd="0" presId="urn:microsoft.com/office/officeart/2005/8/layout/radial5"/>
    <dgm:cxn modelId="{46F4ECF3-4848-43B8-9D42-E3360EDACCE3}" type="presOf" srcId="{DCA9A0A8-8351-4C7B-A54F-6B5B2F7F652B}" destId="{6CEA1BB9-EE9D-494B-87E1-3B9FE9D9563F}" srcOrd="0" destOrd="0" presId="urn:microsoft.com/office/officeart/2005/8/layout/radial5"/>
    <dgm:cxn modelId="{0AB39C06-EC9B-4695-BB2A-7CCC1500587A}" type="presParOf" srcId="{CAFB2184-EC15-488F-BCB3-96D001314BB8}" destId="{0492F7DE-73FF-431E-A248-7C7D048B3432}" srcOrd="0" destOrd="0" presId="urn:microsoft.com/office/officeart/2005/8/layout/radial5"/>
    <dgm:cxn modelId="{04AF97FA-B1B3-492F-83C2-F08EA10CA5DB}" type="presParOf" srcId="{CAFB2184-EC15-488F-BCB3-96D001314BB8}" destId="{8347B773-87D3-4D14-83EC-FE79A41C025D}" srcOrd="1" destOrd="0" presId="urn:microsoft.com/office/officeart/2005/8/layout/radial5"/>
    <dgm:cxn modelId="{80BCD322-869F-4B53-AAD2-5A8874D000D6}" type="presParOf" srcId="{8347B773-87D3-4D14-83EC-FE79A41C025D}" destId="{8950C4AC-0C6A-462D-BBDE-B8119985EEF7}" srcOrd="0" destOrd="0" presId="urn:microsoft.com/office/officeart/2005/8/layout/radial5"/>
    <dgm:cxn modelId="{0911DC59-5C49-47A5-A52B-8092DD469DA1}" type="presParOf" srcId="{CAFB2184-EC15-488F-BCB3-96D001314BB8}" destId="{FA704D77-E79D-4D13-8D92-DCF265207CBF}" srcOrd="2" destOrd="0" presId="urn:microsoft.com/office/officeart/2005/8/layout/radial5"/>
    <dgm:cxn modelId="{10066767-A107-4564-9E6A-36CAF71B1091}" type="presParOf" srcId="{CAFB2184-EC15-488F-BCB3-96D001314BB8}" destId="{FE8A0DA5-1E05-4D2E-B8E3-17F587A096C6}" srcOrd="3" destOrd="0" presId="urn:microsoft.com/office/officeart/2005/8/layout/radial5"/>
    <dgm:cxn modelId="{AD6B723F-5C38-4B70-85B7-F2F38A814669}" type="presParOf" srcId="{FE8A0DA5-1E05-4D2E-B8E3-17F587A096C6}" destId="{EBCE3BA6-4E8E-4474-BCF3-AD1571631544}" srcOrd="0" destOrd="0" presId="urn:microsoft.com/office/officeart/2005/8/layout/radial5"/>
    <dgm:cxn modelId="{B1CA29D7-F8F3-441D-B494-3E5ADE83A723}" type="presParOf" srcId="{CAFB2184-EC15-488F-BCB3-96D001314BB8}" destId="{75220C0D-BA3C-4E78-B3EA-CC9BE0A8833C}" srcOrd="4" destOrd="0" presId="urn:microsoft.com/office/officeart/2005/8/layout/radial5"/>
    <dgm:cxn modelId="{931CFA02-AC06-4537-96E4-1FD48778EA0A}" type="presParOf" srcId="{CAFB2184-EC15-488F-BCB3-96D001314BB8}" destId="{644B595B-69BF-4FC0-B29F-5CCB6FFEAADD}" srcOrd="5" destOrd="0" presId="urn:microsoft.com/office/officeart/2005/8/layout/radial5"/>
    <dgm:cxn modelId="{E628F319-3BC4-41A2-8321-87FD7B4B3090}" type="presParOf" srcId="{644B595B-69BF-4FC0-B29F-5CCB6FFEAADD}" destId="{9F1D02DF-6E3A-4ED6-8A37-412341C16354}" srcOrd="0" destOrd="0" presId="urn:microsoft.com/office/officeart/2005/8/layout/radial5"/>
    <dgm:cxn modelId="{BD39D7DD-10C9-41E0-B0D7-60123875664C}" type="presParOf" srcId="{CAFB2184-EC15-488F-BCB3-96D001314BB8}" destId="{6E0FCB20-4EEB-40D8-8906-E5B16181C30C}" srcOrd="6" destOrd="0" presId="urn:microsoft.com/office/officeart/2005/8/layout/radial5"/>
    <dgm:cxn modelId="{5ADBB246-FCBC-401C-B44F-594E983E4EE8}" type="presParOf" srcId="{CAFB2184-EC15-488F-BCB3-96D001314BB8}" destId="{DCAE4B27-8F1B-4075-A0CE-AF4D2511FFB1}" srcOrd="7" destOrd="0" presId="urn:microsoft.com/office/officeart/2005/8/layout/radial5"/>
    <dgm:cxn modelId="{6D021373-6CE8-421E-8E36-C47892D0F7A8}" type="presParOf" srcId="{DCAE4B27-8F1B-4075-A0CE-AF4D2511FFB1}" destId="{E3F18194-FE7E-4A67-B6AE-653EF70BEDA5}" srcOrd="0" destOrd="0" presId="urn:microsoft.com/office/officeart/2005/8/layout/radial5"/>
    <dgm:cxn modelId="{2EF9D644-C079-4A14-96FC-65772D103353}" type="presParOf" srcId="{CAFB2184-EC15-488F-BCB3-96D001314BB8}" destId="{6CEA1BB9-EE9D-494B-87E1-3B9FE9D9563F}" srcOrd="8" destOrd="0" presId="urn:microsoft.com/office/officeart/2005/8/layout/radial5"/>
    <dgm:cxn modelId="{E112C9EC-0C7D-4F15-BFDC-771B88ED5282}" type="presParOf" srcId="{CAFB2184-EC15-488F-BCB3-96D001314BB8}" destId="{0976C174-FE16-45BA-9334-82CB8FFB7318}" srcOrd="9" destOrd="0" presId="urn:microsoft.com/office/officeart/2005/8/layout/radial5"/>
    <dgm:cxn modelId="{43B6076C-1B83-411A-9381-BF0B5ABF4631}" type="presParOf" srcId="{0976C174-FE16-45BA-9334-82CB8FFB7318}" destId="{30E10E9D-F159-4561-AF47-A0BB865BB205}" srcOrd="0" destOrd="0" presId="urn:microsoft.com/office/officeart/2005/8/layout/radial5"/>
    <dgm:cxn modelId="{8F4A5FAF-86CD-4B4E-9AF2-B8595F32EB5E}" type="presParOf" srcId="{CAFB2184-EC15-488F-BCB3-96D001314BB8}" destId="{4BBC2333-E37F-4D57-9A7E-3627C386AA86}" srcOrd="10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16F4608-07BB-49D7-B6B3-4D0C651CF9BD}" type="doc">
      <dgm:prSet loTypeId="urn:microsoft.com/office/officeart/2005/8/layout/radial5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64CA347-0BDC-4410-A953-3CDFF50FD65C}">
      <dgm:prSet phldrT="[Текст]"/>
      <dgm:spPr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</a:gradFill>
        <a:scene3d>
          <a:camera prst="orthographicFront"/>
          <a:lightRig rig="threePt" dir="t"/>
        </a:scene3d>
        <a:sp3d>
          <a:bevelT w="82550"/>
        </a:sp3d>
      </dgm:spPr>
      <dgm:t>
        <a:bodyPr/>
        <a:lstStyle/>
        <a:p>
          <a:r>
            <a:rPr lang="ru-RU" dirty="0" smtClean="0">
              <a:latin typeface="Book Antiqua" panose="02040602050305030304" pitchFamily="18" charset="0"/>
            </a:rPr>
            <a:t>СОГЛАШЕНИЕ ОБ ОБМЕНЕ ИНФОРМАЦИЕЙ </a:t>
          </a:r>
          <a:endParaRPr lang="ru-RU" dirty="0">
            <a:latin typeface="Book Antiqua" panose="02040602050305030304" pitchFamily="18" charset="0"/>
          </a:endParaRPr>
        </a:p>
      </dgm:t>
    </dgm:pt>
    <dgm:pt modelId="{F2640C03-643E-4FE0-9261-0DA5857B1D64}" type="parTrans" cxnId="{22268E03-0BBA-4CAA-8001-0012AFCB1D0E}">
      <dgm:prSet/>
      <dgm:spPr/>
      <dgm:t>
        <a:bodyPr/>
        <a:lstStyle/>
        <a:p>
          <a:endParaRPr lang="ru-RU"/>
        </a:p>
      </dgm:t>
    </dgm:pt>
    <dgm:pt modelId="{553708A8-2A8D-4D34-AEA4-32C1D897ED27}" type="sibTrans" cxnId="{22268E03-0BBA-4CAA-8001-0012AFCB1D0E}">
      <dgm:prSet/>
      <dgm:spPr/>
      <dgm:t>
        <a:bodyPr/>
        <a:lstStyle/>
        <a:p>
          <a:endParaRPr lang="ru-RU"/>
        </a:p>
      </dgm:t>
    </dgm:pt>
    <dgm:pt modelId="{92F6D31D-ACCE-474B-88D5-3ABB9813130A}">
      <dgm:prSet phldrT="[Текст]" custT="1"/>
      <dgm:spPr>
        <a:solidFill>
          <a:srgbClr val="0099CC"/>
        </a:solidFill>
        <a:scene3d>
          <a:camera prst="orthographicFront"/>
          <a:lightRig rig="threePt" dir="t"/>
        </a:scene3d>
        <a:sp3d>
          <a:bevelT w="44450"/>
        </a:sp3d>
      </dgm:spPr>
      <dgm:t>
        <a:bodyPr/>
        <a:lstStyle/>
        <a:p>
          <a:r>
            <a:rPr lang="ru-RU" sz="1100" dirty="0" smtClean="0">
              <a:solidFill>
                <a:schemeClr val="tx1"/>
              </a:solidFill>
              <a:latin typeface="Book Antiqua" panose="02040602050305030304" pitchFamily="18" charset="0"/>
            </a:rPr>
            <a:t>ОБМЕН ИНФОРМАЦИЕЙ О ФИН. ОРГАНИЗАЦИЯХ И ТРАНСГРАНИЧНЫХ ОРГАНИЗАЦИЯХ СТОРОН</a:t>
          </a:r>
          <a:endParaRPr lang="ru-RU" sz="1100" dirty="0">
            <a:solidFill>
              <a:schemeClr val="tx1"/>
            </a:solidFill>
            <a:latin typeface="Book Antiqua" panose="02040602050305030304" pitchFamily="18" charset="0"/>
          </a:endParaRPr>
        </a:p>
      </dgm:t>
    </dgm:pt>
    <dgm:pt modelId="{56C800C3-504A-4312-AE41-1FBFCC211277}" type="parTrans" cxnId="{20B0F3D2-EA84-461C-95F9-4ABEBC98AE84}">
      <dgm:prSet/>
      <dgm:spPr>
        <a:scene3d>
          <a:camera prst="orthographicFront"/>
          <a:lightRig rig="threePt" dir="t"/>
        </a:scene3d>
        <a:sp3d>
          <a:bevelT w="69850"/>
        </a:sp3d>
      </dgm:spPr>
      <dgm:t>
        <a:bodyPr/>
        <a:lstStyle/>
        <a:p>
          <a:endParaRPr lang="ru-RU"/>
        </a:p>
      </dgm:t>
    </dgm:pt>
    <dgm:pt modelId="{EF4F8AE3-CD3A-468B-AA26-39DD6B74F29E}" type="sibTrans" cxnId="{20B0F3D2-EA84-461C-95F9-4ABEBC98AE84}">
      <dgm:prSet/>
      <dgm:spPr/>
      <dgm:t>
        <a:bodyPr/>
        <a:lstStyle/>
        <a:p>
          <a:endParaRPr lang="ru-RU"/>
        </a:p>
      </dgm:t>
    </dgm:pt>
    <dgm:pt modelId="{AAF02D6C-1508-4638-A3FD-FF5CFA55D14A}">
      <dgm:prSet phldrT="[Текст]" custT="1"/>
      <dgm:spPr>
        <a:solidFill>
          <a:srgbClr val="0099CC"/>
        </a:solidFill>
        <a:scene3d>
          <a:camera prst="orthographicFront"/>
          <a:lightRig rig="threePt" dir="t"/>
        </a:scene3d>
        <a:sp3d>
          <a:bevelT w="50800"/>
        </a:sp3d>
      </dgm:spPr>
      <dgm:t>
        <a:bodyPr/>
        <a:lstStyle/>
        <a:p>
          <a:r>
            <a:rPr lang="ru-RU" sz="1100" dirty="0" smtClean="0">
              <a:solidFill>
                <a:schemeClr val="tx1"/>
              </a:solidFill>
              <a:latin typeface="Book Antiqua" panose="02040602050305030304" pitchFamily="18" charset="0"/>
            </a:rPr>
            <a:t>ОБМЕН ИНФОРМАЦИЕЙ О ПРАВОПРИМЕНИТЕЛЬНОЙ ПРАКТИКЕ ГОСУДАРСТВ СТОРОН</a:t>
          </a:r>
          <a:endParaRPr lang="ru-RU" sz="1100" dirty="0">
            <a:solidFill>
              <a:schemeClr val="tx1"/>
            </a:solidFill>
            <a:latin typeface="Book Antiqua" panose="02040602050305030304" pitchFamily="18" charset="0"/>
          </a:endParaRPr>
        </a:p>
      </dgm:t>
    </dgm:pt>
    <dgm:pt modelId="{808EF67D-87DA-4229-A21D-93A3FF482503}" type="parTrans" cxnId="{E67ADDF7-0CCC-4736-B3CA-53298FD385E3}">
      <dgm:prSet/>
      <dgm:spPr>
        <a:scene3d>
          <a:camera prst="orthographicFront"/>
          <a:lightRig rig="threePt" dir="t"/>
        </a:scene3d>
        <a:sp3d>
          <a:bevelT w="63500"/>
        </a:sp3d>
      </dgm:spPr>
      <dgm:t>
        <a:bodyPr/>
        <a:lstStyle/>
        <a:p>
          <a:endParaRPr lang="ru-RU"/>
        </a:p>
      </dgm:t>
    </dgm:pt>
    <dgm:pt modelId="{4F07CB25-60A7-4496-8029-EE7C582FA8D2}" type="sibTrans" cxnId="{E67ADDF7-0CCC-4736-B3CA-53298FD385E3}">
      <dgm:prSet/>
      <dgm:spPr/>
      <dgm:t>
        <a:bodyPr/>
        <a:lstStyle/>
        <a:p>
          <a:endParaRPr lang="ru-RU"/>
        </a:p>
      </dgm:t>
    </dgm:pt>
    <dgm:pt modelId="{2A837EA4-0A7D-44C5-A6C1-CC2A0AFFFA6F}">
      <dgm:prSet phldrT="[Текст]" custT="1"/>
      <dgm:spPr>
        <a:solidFill>
          <a:srgbClr val="0099CC"/>
        </a:solidFill>
        <a:scene3d>
          <a:camera prst="orthographicFront"/>
          <a:lightRig rig="threePt" dir="t"/>
        </a:scene3d>
        <a:sp3d>
          <a:bevelT w="44450"/>
        </a:sp3d>
      </dgm:spPr>
      <dgm:t>
        <a:bodyPr/>
        <a:lstStyle/>
        <a:p>
          <a:r>
            <a:rPr lang="ru-RU" sz="1100" dirty="0" smtClean="0">
              <a:solidFill>
                <a:schemeClr val="tx1"/>
              </a:solidFill>
              <a:latin typeface="Book Antiqua" panose="02040602050305030304" pitchFamily="18" charset="0"/>
            </a:rPr>
            <a:t>СОДЕЙСТВИЕ В ОРГАНИЗАЦИИ СЕМИНАРОВ, КУРСОВ, РАБОЧИХ ВСТРЕЧ С ЦЕЛЬЮ ПОВЫШЕНИЯ КВАЛИФИКАЦИИ СТОРУДНИКОВ УПОЛНОМОЧЕННЫХ ОРГАНОВ</a:t>
          </a:r>
          <a:endParaRPr lang="ru-RU" sz="1100" dirty="0">
            <a:solidFill>
              <a:schemeClr val="tx1"/>
            </a:solidFill>
            <a:latin typeface="Book Antiqua" panose="02040602050305030304" pitchFamily="18" charset="0"/>
          </a:endParaRPr>
        </a:p>
      </dgm:t>
    </dgm:pt>
    <dgm:pt modelId="{12CD33F4-4A7D-4C26-9B7A-9C06B136504B}" type="parTrans" cxnId="{53E95A26-8766-4F20-B607-0A930FA69898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ru-RU"/>
        </a:p>
      </dgm:t>
    </dgm:pt>
    <dgm:pt modelId="{E7F19E6F-75AA-454C-AE72-F15C242C54B6}" type="sibTrans" cxnId="{53E95A26-8766-4F20-B607-0A930FA69898}">
      <dgm:prSet/>
      <dgm:spPr/>
      <dgm:t>
        <a:bodyPr/>
        <a:lstStyle/>
        <a:p>
          <a:endParaRPr lang="ru-RU"/>
        </a:p>
      </dgm:t>
    </dgm:pt>
    <dgm:pt modelId="{46089917-4508-43D2-AA80-7B7EE4EA9B88}">
      <dgm:prSet custT="1"/>
      <dgm:spPr>
        <a:solidFill>
          <a:srgbClr val="0099CC"/>
        </a:solidFill>
        <a:scene3d>
          <a:camera prst="orthographicFront"/>
          <a:lightRig rig="threePt" dir="t"/>
        </a:scene3d>
        <a:sp3d>
          <a:bevelT w="57150"/>
        </a:sp3d>
      </dgm:spPr>
      <dgm:t>
        <a:bodyPr/>
        <a:lstStyle/>
        <a:p>
          <a:r>
            <a:rPr lang="ru-RU" sz="1100" dirty="0" smtClean="0">
              <a:solidFill>
                <a:schemeClr val="tx1"/>
              </a:solidFill>
              <a:latin typeface="Book Antiqua" panose="02040602050305030304" pitchFamily="18" charset="0"/>
            </a:rPr>
            <a:t>ОБМЕН ИНФОРМАЦИЕЙ НА ФИН РЫНКАХ И ВЗАИМНЫЕ КОНСУЛЬТАЦИИ СТОРОН</a:t>
          </a:r>
        </a:p>
      </dgm:t>
    </dgm:pt>
    <dgm:pt modelId="{D13338E6-00A6-489B-95C4-8870C221C0B8}" type="parTrans" cxnId="{97380AE9-2BFD-4DA6-8415-5AEAEDEE49B5}">
      <dgm:prSet/>
      <dgm:spPr>
        <a:solidFill>
          <a:srgbClr val="003399"/>
        </a:solidFill>
        <a:scene3d>
          <a:camera prst="orthographicFront"/>
          <a:lightRig rig="threePt" dir="t"/>
        </a:scene3d>
        <a:sp3d>
          <a:bevelT w="57150"/>
        </a:sp3d>
      </dgm:spPr>
      <dgm:t>
        <a:bodyPr/>
        <a:lstStyle/>
        <a:p>
          <a:endParaRPr lang="ru-RU"/>
        </a:p>
      </dgm:t>
    </dgm:pt>
    <dgm:pt modelId="{67269975-DAFD-45DD-A103-A0B56B9B4B09}" type="sibTrans" cxnId="{97380AE9-2BFD-4DA6-8415-5AEAEDEE49B5}">
      <dgm:prSet/>
      <dgm:spPr/>
      <dgm:t>
        <a:bodyPr/>
        <a:lstStyle/>
        <a:p>
          <a:endParaRPr lang="ru-RU"/>
        </a:p>
      </dgm:t>
    </dgm:pt>
    <dgm:pt modelId="{85C246AC-2AB2-41C1-B3E2-415676DED267}">
      <dgm:prSet phldrT="[Текст]" custT="1"/>
      <dgm:spPr>
        <a:solidFill>
          <a:srgbClr val="0099CC"/>
        </a:solidFill>
        <a:scene3d>
          <a:camera prst="orthographicFront"/>
          <a:lightRig rig="threePt" dir="t"/>
        </a:scene3d>
        <a:sp3d>
          <a:bevelT w="69850"/>
        </a:sp3d>
      </dgm:spPr>
      <dgm:t>
        <a:bodyPr/>
        <a:lstStyle/>
        <a:p>
          <a:r>
            <a:rPr lang="ru-RU" sz="1100" dirty="0" smtClean="0">
              <a:solidFill>
                <a:schemeClr val="tx1"/>
              </a:solidFill>
              <a:latin typeface="Book Antiqua" panose="02040602050305030304" pitchFamily="18" charset="0"/>
            </a:rPr>
            <a:t>СОДЕЙСТВИЕ ПОВЫШЕНИЮ ФИНАНСОВОЙ ГРАМОТНОСТИ НАСЕЛЕНИЯ ГОСУДАРСТВ СТОРОН</a:t>
          </a:r>
          <a:endParaRPr lang="ru-RU" sz="1100" dirty="0">
            <a:solidFill>
              <a:schemeClr val="tx1"/>
            </a:solidFill>
            <a:latin typeface="Book Antiqua" panose="02040602050305030304" pitchFamily="18" charset="0"/>
          </a:endParaRPr>
        </a:p>
      </dgm:t>
    </dgm:pt>
    <dgm:pt modelId="{EFEE9217-3F2A-4258-B1B4-57A707A01915}" type="parTrans" cxnId="{231D84C4-AEC5-40FA-B2CE-2365D5F1A844}">
      <dgm:prSet/>
      <dgm:spPr>
        <a:scene3d>
          <a:camera prst="orthographicFront"/>
          <a:lightRig rig="threePt" dir="t"/>
        </a:scene3d>
        <a:sp3d>
          <a:bevelT w="63500"/>
        </a:sp3d>
      </dgm:spPr>
      <dgm:t>
        <a:bodyPr/>
        <a:lstStyle/>
        <a:p>
          <a:endParaRPr lang="ru-RU"/>
        </a:p>
      </dgm:t>
    </dgm:pt>
    <dgm:pt modelId="{C65948F8-76CD-4CE9-8705-1E0668D2AA2B}" type="sibTrans" cxnId="{231D84C4-AEC5-40FA-B2CE-2365D5F1A844}">
      <dgm:prSet/>
      <dgm:spPr/>
      <dgm:t>
        <a:bodyPr/>
        <a:lstStyle/>
        <a:p>
          <a:endParaRPr lang="ru-RU"/>
        </a:p>
      </dgm:t>
    </dgm:pt>
    <dgm:pt modelId="{ADC21F3B-C97F-410A-A07D-35A6831E26F5}">
      <dgm:prSet custT="1"/>
      <dgm:spPr>
        <a:solidFill>
          <a:srgbClr val="0099CC"/>
        </a:solidFill>
        <a:scene3d>
          <a:camera prst="orthographicFront"/>
          <a:lightRig rig="threePt" dir="t"/>
        </a:scene3d>
        <a:sp3d>
          <a:bevelT w="69850"/>
        </a:sp3d>
      </dgm:spPr>
      <dgm:t>
        <a:bodyPr/>
        <a:lstStyle/>
        <a:p>
          <a:r>
            <a:rPr lang="ru-RU" sz="1100" dirty="0" smtClean="0">
              <a:solidFill>
                <a:schemeClr val="tx1"/>
              </a:solidFill>
              <a:latin typeface="Book Antiqua" panose="02040602050305030304" pitchFamily="18" charset="0"/>
            </a:rPr>
            <a:t>Государство, присоединяющиеся к настоящему Соглашению, обеспечивает уровень защиты конфиденциальной информации эквивалентный уровню защиты конфиденциальной информации, предусмотренному законодательством государств Сторон</a:t>
          </a:r>
          <a:endParaRPr lang="ru-RU" sz="1100" dirty="0">
            <a:solidFill>
              <a:schemeClr val="tx1"/>
            </a:solidFill>
            <a:latin typeface="Book Antiqua" panose="02040602050305030304" pitchFamily="18" charset="0"/>
          </a:endParaRPr>
        </a:p>
      </dgm:t>
    </dgm:pt>
    <dgm:pt modelId="{C062ED58-CB22-4241-885E-E164A292FF21}" type="parTrans" cxnId="{524D2FBD-B057-4B4F-B798-E7A154BB2146}">
      <dgm:prSet/>
      <dgm:spPr>
        <a:scene3d>
          <a:camera prst="orthographicFront"/>
          <a:lightRig rig="threePt" dir="t"/>
        </a:scene3d>
        <a:sp3d>
          <a:bevelT w="63500"/>
        </a:sp3d>
      </dgm:spPr>
      <dgm:t>
        <a:bodyPr/>
        <a:lstStyle/>
        <a:p>
          <a:endParaRPr lang="ru-RU"/>
        </a:p>
      </dgm:t>
    </dgm:pt>
    <dgm:pt modelId="{69911023-8C15-42C3-8CA5-1E3F86F61615}" type="sibTrans" cxnId="{524D2FBD-B057-4B4F-B798-E7A154BB2146}">
      <dgm:prSet/>
      <dgm:spPr/>
      <dgm:t>
        <a:bodyPr/>
        <a:lstStyle/>
        <a:p>
          <a:endParaRPr lang="ru-RU"/>
        </a:p>
      </dgm:t>
    </dgm:pt>
    <dgm:pt modelId="{1D6C9404-F603-4377-A638-342854B822F2}">
      <dgm:prSet custT="1"/>
      <dgm:spPr>
        <a:solidFill>
          <a:srgbClr val="0099CC"/>
        </a:solidFill>
        <a:scene3d>
          <a:camera prst="orthographicFront"/>
          <a:lightRig rig="threePt" dir="t"/>
        </a:scene3d>
        <a:sp3d>
          <a:bevelT w="57150"/>
        </a:sp3d>
      </dgm:spPr>
      <dgm:t>
        <a:bodyPr/>
        <a:lstStyle/>
        <a:p>
          <a:r>
            <a:rPr lang="ru-RU" sz="1000" dirty="0" smtClean="0">
              <a:solidFill>
                <a:schemeClr val="tx1"/>
              </a:solidFill>
              <a:latin typeface="Book Antiqua" panose="02040602050305030304" pitchFamily="18" charset="0"/>
            </a:rPr>
            <a:t>Уполномоченные органы в пределах своей компетенции (полномочий) осуществляют обмен информацией, в том числе конфиденциальной по запросу любого уполномоченного органа в наиболее полном объеме</a:t>
          </a:r>
          <a:endParaRPr lang="ru-RU" sz="1000" dirty="0">
            <a:solidFill>
              <a:schemeClr val="tx1"/>
            </a:solidFill>
            <a:latin typeface="Book Antiqua" panose="02040602050305030304" pitchFamily="18" charset="0"/>
          </a:endParaRPr>
        </a:p>
      </dgm:t>
    </dgm:pt>
    <dgm:pt modelId="{885B8267-A55A-4E75-BA29-C4FE59543BE7}" type="parTrans" cxnId="{3F789A26-A536-46BF-9BB3-1CBB681DEE25}">
      <dgm:prSet/>
      <dgm:spPr>
        <a:scene3d>
          <a:camera prst="orthographicFront"/>
          <a:lightRig rig="threePt" dir="t"/>
        </a:scene3d>
        <a:sp3d>
          <a:bevelT w="63500"/>
        </a:sp3d>
      </dgm:spPr>
      <dgm:t>
        <a:bodyPr/>
        <a:lstStyle/>
        <a:p>
          <a:endParaRPr lang="ru-RU"/>
        </a:p>
      </dgm:t>
    </dgm:pt>
    <dgm:pt modelId="{5BEF46E7-B9B1-4F24-A792-E0317CDCBB53}" type="sibTrans" cxnId="{3F789A26-A536-46BF-9BB3-1CBB681DEE25}">
      <dgm:prSet/>
      <dgm:spPr/>
      <dgm:t>
        <a:bodyPr/>
        <a:lstStyle/>
        <a:p>
          <a:endParaRPr lang="ru-RU"/>
        </a:p>
      </dgm:t>
    </dgm:pt>
    <dgm:pt modelId="{CAFB2184-EC15-488F-BCB3-96D001314BB8}" type="pres">
      <dgm:prSet presAssocID="{416F4608-07BB-49D7-B6B3-4D0C651CF9BD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492F7DE-73FF-431E-A248-7C7D048B3432}" type="pres">
      <dgm:prSet presAssocID="{A64CA347-0BDC-4410-A953-3CDFF50FD65C}" presName="centerShape" presStyleLbl="node0" presStyleIdx="0" presStyleCnt="1" custScaleX="139194" custScaleY="119599" custLinFactNeighborX="-12339" custLinFactNeighborY="-5858"/>
      <dgm:spPr/>
      <dgm:t>
        <a:bodyPr/>
        <a:lstStyle/>
        <a:p>
          <a:endParaRPr lang="ru-RU"/>
        </a:p>
      </dgm:t>
    </dgm:pt>
    <dgm:pt modelId="{8347B773-87D3-4D14-83EC-FE79A41C025D}" type="pres">
      <dgm:prSet presAssocID="{56C800C3-504A-4312-AE41-1FBFCC211277}" presName="parTrans" presStyleLbl="sibTrans2D1" presStyleIdx="0" presStyleCnt="7" custScaleX="152727"/>
      <dgm:spPr/>
      <dgm:t>
        <a:bodyPr/>
        <a:lstStyle/>
        <a:p>
          <a:endParaRPr lang="ru-RU"/>
        </a:p>
      </dgm:t>
    </dgm:pt>
    <dgm:pt modelId="{8950C4AC-0C6A-462D-BBDE-B8119985EEF7}" type="pres">
      <dgm:prSet presAssocID="{56C800C3-504A-4312-AE41-1FBFCC211277}" presName="connectorText" presStyleLbl="sibTrans2D1" presStyleIdx="0" presStyleCnt="7"/>
      <dgm:spPr/>
      <dgm:t>
        <a:bodyPr/>
        <a:lstStyle/>
        <a:p>
          <a:endParaRPr lang="ru-RU"/>
        </a:p>
      </dgm:t>
    </dgm:pt>
    <dgm:pt modelId="{FA704D77-E79D-4D13-8D92-DCF265207CBF}" type="pres">
      <dgm:prSet presAssocID="{92F6D31D-ACCE-474B-88D5-3ABB9813130A}" presName="node" presStyleLbl="node1" presStyleIdx="0" presStyleCnt="7" custScaleX="204851" custRadScaleRad="101341" custRadScaleInc="1555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E8A0DA5-1E05-4D2E-B8E3-17F587A096C6}" type="pres">
      <dgm:prSet presAssocID="{808EF67D-87DA-4229-A21D-93A3FF482503}" presName="parTrans" presStyleLbl="sibTrans2D1" presStyleIdx="1" presStyleCnt="7" custScaleX="148183"/>
      <dgm:spPr/>
      <dgm:t>
        <a:bodyPr/>
        <a:lstStyle/>
        <a:p>
          <a:endParaRPr lang="ru-RU"/>
        </a:p>
      </dgm:t>
    </dgm:pt>
    <dgm:pt modelId="{EBCE3BA6-4E8E-4474-BCF3-AD1571631544}" type="pres">
      <dgm:prSet presAssocID="{808EF67D-87DA-4229-A21D-93A3FF482503}" presName="connectorText" presStyleLbl="sibTrans2D1" presStyleIdx="1" presStyleCnt="7"/>
      <dgm:spPr/>
      <dgm:t>
        <a:bodyPr/>
        <a:lstStyle/>
        <a:p>
          <a:endParaRPr lang="ru-RU"/>
        </a:p>
      </dgm:t>
    </dgm:pt>
    <dgm:pt modelId="{75220C0D-BA3C-4E78-B3EA-CC9BE0A8833C}" type="pres">
      <dgm:prSet presAssocID="{AAF02D6C-1508-4638-A3FD-FF5CFA55D14A}" presName="node" presStyleLbl="node1" presStyleIdx="1" presStyleCnt="7" custScaleX="206868" custScaleY="130268" custRadScaleRad="143860" custRadScaleInc="2871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44B595B-69BF-4FC0-B29F-5CCB6FFEAADD}" type="pres">
      <dgm:prSet presAssocID="{12CD33F4-4A7D-4C26-9B7A-9C06B136504B}" presName="parTrans" presStyleLbl="sibTrans2D1" presStyleIdx="2" presStyleCnt="7" custScaleX="167192"/>
      <dgm:spPr/>
      <dgm:t>
        <a:bodyPr/>
        <a:lstStyle/>
        <a:p>
          <a:endParaRPr lang="ru-RU"/>
        </a:p>
      </dgm:t>
    </dgm:pt>
    <dgm:pt modelId="{9F1D02DF-6E3A-4ED6-8A37-412341C16354}" type="pres">
      <dgm:prSet presAssocID="{12CD33F4-4A7D-4C26-9B7A-9C06B136504B}" presName="connectorText" presStyleLbl="sibTrans2D1" presStyleIdx="2" presStyleCnt="7"/>
      <dgm:spPr/>
      <dgm:t>
        <a:bodyPr/>
        <a:lstStyle/>
        <a:p>
          <a:endParaRPr lang="ru-RU"/>
        </a:p>
      </dgm:t>
    </dgm:pt>
    <dgm:pt modelId="{6E0FCB20-4EEB-40D8-8906-E5B16181C30C}" type="pres">
      <dgm:prSet presAssocID="{2A837EA4-0A7D-44C5-A6C1-CC2A0AFFFA6F}" presName="node" presStyleLbl="node1" presStyleIdx="2" presStyleCnt="7" custScaleX="237290" custScaleY="131588" custRadScaleRad="151894" custRadScaleInc="-6733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83FE8E-907B-4C2C-B695-6914080798E3}" type="pres">
      <dgm:prSet presAssocID="{EFEE9217-3F2A-4258-B1B4-57A707A01915}" presName="parTrans" presStyleLbl="sibTrans2D1" presStyleIdx="3" presStyleCnt="7" custScaleX="134668"/>
      <dgm:spPr/>
      <dgm:t>
        <a:bodyPr/>
        <a:lstStyle/>
        <a:p>
          <a:endParaRPr lang="ru-RU"/>
        </a:p>
      </dgm:t>
    </dgm:pt>
    <dgm:pt modelId="{A5A231F1-37D9-4E9F-A19F-0D4B9E04AE14}" type="pres">
      <dgm:prSet presAssocID="{EFEE9217-3F2A-4258-B1B4-57A707A01915}" presName="connectorText" presStyleLbl="sibTrans2D1" presStyleIdx="3" presStyleCnt="7"/>
      <dgm:spPr/>
      <dgm:t>
        <a:bodyPr/>
        <a:lstStyle/>
        <a:p>
          <a:endParaRPr lang="ru-RU"/>
        </a:p>
      </dgm:t>
    </dgm:pt>
    <dgm:pt modelId="{1261C45A-6F9B-46F4-BE9B-84C1F7CBF352}" type="pres">
      <dgm:prSet presAssocID="{85C246AC-2AB2-41C1-B3E2-415676DED267}" presName="node" presStyleLbl="node1" presStyleIdx="3" presStyleCnt="7" custScaleX="252765" custScaleY="115794" custRadScaleRad="121042" custRadScaleInc="-13498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944E50E-3869-472D-925D-E53C9B8EA0D1}" type="pres">
      <dgm:prSet presAssocID="{C062ED58-CB22-4241-885E-E164A292FF21}" presName="parTrans" presStyleLbl="sibTrans2D1" presStyleIdx="4" presStyleCnt="7" custScaleX="164283"/>
      <dgm:spPr/>
      <dgm:t>
        <a:bodyPr/>
        <a:lstStyle/>
        <a:p>
          <a:endParaRPr lang="ru-RU"/>
        </a:p>
      </dgm:t>
    </dgm:pt>
    <dgm:pt modelId="{5D463996-97FB-4864-9446-2542DE1AD500}" type="pres">
      <dgm:prSet presAssocID="{C062ED58-CB22-4241-885E-E164A292FF21}" presName="connectorText" presStyleLbl="sibTrans2D1" presStyleIdx="4" presStyleCnt="7"/>
      <dgm:spPr/>
      <dgm:t>
        <a:bodyPr/>
        <a:lstStyle/>
        <a:p>
          <a:endParaRPr lang="ru-RU"/>
        </a:p>
      </dgm:t>
    </dgm:pt>
    <dgm:pt modelId="{6B94B901-6185-403C-83D9-A8F164FC7A42}" type="pres">
      <dgm:prSet presAssocID="{ADC21F3B-C97F-410A-A07D-35A6831E26F5}" presName="node" presStyleLbl="node1" presStyleIdx="4" presStyleCnt="7" custScaleX="261051" custScaleY="146171" custRadScaleRad="96738" custRadScaleInc="-2348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35EA9F5-B0CA-43FE-BD21-8167BBE44BBD}" type="pres">
      <dgm:prSet presAssocID="{885B8267-A55A-4E75-BA29-C4FE59543BE7}" presName="parTrans" presStyleLbl="sibTrans2D1" presStyleIdx="5" presStyleCnt="7" custScaleX="161860"/>
      <dgm:spPr/>
      <dgm:t>
        <a:bodyPr/>
        <a:lstStyle/>
        <a:p>
          <a:endParaRPr lang="ru-RU"/>
        </a:p>
      </dgm:t>
    </dgm:pt>
    <dgm:pt modelId="{D861FA44-F58A-4EE2-8154-9541CEA71BA0}" type="pres">
      <dgm:prSet presAssocID="{885B8267-A55A-4E75-BA29-C4FE59543BE7}" presName="connectorText" presStyleLbl="sibTrans2D1" presStyleIdx="5" presStyleCnt="7"/>
      <dgm:spPr/>
      <dgm:t>
        <a:bodyPr/>
        <a:lstStyle/>
        <a:p>
          <a:endParaRPr lang="ru-RU"/>
        </a:p>
      </dgm:t>
    </dgm:pt>
    <dgm:pt modelId="{0BDB3250-D354-4342-A31A-0531D40C1635}" type="pres">
      <dgm:prSet presAssocID="{1D6C9404-F603-4377-A638-342854B822F2}" presName="node" presStyleLbl="node1" presStyleIdx="5" presStyleCnt="7" custScaleX="142118" custScaleY="179047" custRadScaleRad="152617" custRadScaleInc="-257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976C174-FE16-45BA-9334-82CB8FFB7318}" type="pres">
      <dgm:prSet presAssocID="{D13338E6-00A6-489B-95C4-8870C221C0B8}" presName="parTrans" presStyleLbl="sibTrans2D1" presStyleIdx="6" presStyleCnt="7" custScaleX="170612"/>
      <dgm:spPr/>
      <dgm:t>
        <a:bodyPr/>
        <a:lstStyle/>
        <a:p>
          <a:endParaRPr lang="ru-RU"/>
        </a:p>
      </dgm:t>
    </dgm:pt>
    <dgm:pt modelId="{30E10E9D-F159-4561-AF47-A0BB865BB205}" type="pres">
      <dgm:prSet presAssocID="{D13338E6-00A6-489B-95C4-8870C221C0B8}" presName="connectorText" presStyleLbl="sibTrans2D1" presStyleIdx="6" presStyleCnt="7"/>
      <dgm:spPr/>
      <dgm:t>
        <a:bodyPr/>
        <a:lstStyle/>
        <a:p>
          <a:endParaRPr lang="ru-RU"/>
        </a:p>
      </dgm:t>
    </dgm:pt>
    <dgm:pt modelId="{4BBC2333-E37F-4D57-9A7E-3627C386AA86}" type="pres">
      <dgm:prSet presAssocID="{46089917-4508-43D2-AA80-7B7EE4EA9B88}" presName="node" presStyleLbl="node1" presStyleIdx="6" presStyleCnt="7" custScaleX="182553" custScaleY="149758" custRadScaleRad="163839" custRadScaleInc="-1282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A6C1DB8-C1ED-4511-A017-20B6D3F445FD}" type="presOf" srcId="{ADC21F3B-C97F-410A-A07D-35A6831E26F5}" destId="{6B94B901-6185-403C-83D9-A8F164FC7A42}" srcOrd="0" destOrd="0" presId="urn:microsoft.com/office/officeart/2005/8/layout/radial5"/>
    <dgm:cxn modelId="{53E95A26-8766-4F20-B607-0A930FA69898}" srcId="{A64CA347-0BDC-4410-A953-3CDFF50FD65C}" destId="{2A837EA4-0A7D-44C5-A6C1-CC2A0AFFFA6F}" srcOrd="2" destOrd="0" parTransId="{12CD33F4-4A7D-4C26-9B7A-9C06B136504B}" sibTransId="{E7F19E6F-75AA-454C-AE72-F15C242C54B6}"/>
    <dgm:cxn modelId="{FF3B5116-22A4-4ABC-8E83-0E03300A6D36}" type="presOf" srcId="{C062ED58-CB22-4241-885E-E164A292FF21}" destId="{2944E50E-3869-472D-925D-E53C9B8EA0D1}" srcOrd="0" destOrd="0" presId="urn:microsoft.com/office/officeart/2005/8/layout/radial5"/>
    <dgm:cxn modelId="{20B0F3D2-EA84-461C-95F9-4ABEBC98AE84}" srcId="{A64CA347-0BDC-4410-A953-3CDFF50FD65C}" destId="{92F6D31D-ACCE-474B-88D5-3ABB9813130A}" srcOrd="0" destOrd="0" parTransId="{56C800C3-504A-4312-AE41-1FBFCC211277}" sibTransId="{EF4F8AE3-CD3A-468B-AA26-39DD6B74F29E}"/>
    <dgm:cxn modelId="{1A1DF7C7-8D90-4D78-98E4-5B0ACD434DDE}" type="presOf" srcId="{808EF67D-87DA-4229-A21D-93A3FF482503}" destId="{FE8A0DA5-1E05-4D2E-B8E3-17F587A096C6}" srcOrd="0" destOrd="0" presId="urn:microsoft.com/office/officeart/2005/8/layout/radial5"/>
    <dgm:cxn modelId="{E56CEB54-6DDB-4CE3-8604-83BAA1E255E0}" type="presOf" srcId="{D13338E6-00A6-489B-95C4-8870C221C0B8}" destId="{0976C174-FE16-45BA-9334-82CB8FFB7318}" srcOrd="0" destOrd="0" presId="urn:microsoft.com/office/officeart/2005/8/layout/radial5"/>
    <dgm:cxn modelId="{A41629E4-9F50-423B-AEFF-4609E21ABF3B}" type="presOf" srcId="{416F4608-07BB-49D7-B6B3-4D0C651CF9BD}" destId="{CAFB2184-EC15-488F-BCB3-96D001314BB8}" srcOrd="0" destOrd="0" presId="urn:microsoft.com/office/officeart/2005/8/layout/radial5"/>
    <dgm:cxn modelId="{93C0666A-AA9B-465F-89F6-7861830F6BF3}" type="presOf" srcId="{EFEE9217-3F2A-4258-B1B4-57A707A01915}" destId="{B783FE8E-907B-4C2C-B695-6914080798E3}" srcOrd="0" destOrd="0" presId="urn:microsoft.com/office/officeart/2005/8/layout/radial5"/>
    <dgm:cxn modelId="{0B1C2D9D-C151-45DC-8D60-375DCCDC0EF9}" type="presOf" srcId="{A64CA347-0BDC-4410-A953-3CDFF50FD65C}" destId="{0492F7DE-73FF-431E-A248-7C7D048B3432}" srcOrd="0" destOrd="0" presId="urn:microsoft.com/office/officeart/2005/8/layout/radial5"/>
    <dgm:cxn modelId="{7DEBD82A-95AB-4111-9B51-3CB2E6FE3EF5}" type="presOf" srcId="{85C246AC-2AB2-41C1-B3E2-415676DED267}" destId="{1261C45A-6F9B-46F4-BE9B-84C1F7CBF352}" srcOrd="0" destOrd="0" presId="urn:microsoft.com/office/officeart/2005/8/layout/radial5"/>
    <dgm:cxn modelId="{6995629E-A24F-4491-A7CE-D5C89F8E3AA5}" type="presOf" srcId="{2A837EA4-0A7D-44C5-A6C1-CC2A0AFFFA6F}" destId="{6E0FCB20-4EEB-40D8-8906-E5B16181C30C}" srcOrd="0" destOrd="0" presId="urn:microsoft.com/office/officeart/2005/8/layout/radial5"/>
    <dgm:cxn modelId="{4B5A2C2E-68E2-455E-B981-2FBE6D6633BF}" type="presOf" srcId="{C062ED58-CB22-4241-885E-E164A292FF21}" destId="{5D463996-97FB-4864-9446-2542DE1AD500}" srcOrd="1" destOrd="0" presId="urn:microsoft.com/office/officeart/2005/8/layout/radial5"/>
    <dgm:cxn modelId="{FB58AD85-6674-4A49-81CE-7E8B6BBDD7EC}" type="presOf" srcId="{EFEE9217-3F2A-4258-B1B4-57A707A01915}" destId="{A5A231F1-37D9-4E9F-A19F-0D4B9E04AE14}" srcOrd="1" destOrd="0" presId="urn:microsoft.com/office/officeart/2005/8/layout/radial5"/>
    <dgm:cxn modelId="{72029950-0D71-4630-A48E-AED03D5E0B84}" type="presOf" srcId="{1D6C9404-F603-4377-A638-342854B822F2}" destId="{0BDB3250-D354-4342-A31A-0531D40C1635}" srcOrd="0" destOrd="0" presId="urn:microsoft.com/office/officeart/2005/8/layout/radial5"/>
    <dgm:cxn modelId="{231D84C4-AEC5-40FA-B2CE-2365D5F1A844}" srcId="{A64CA347-0BDC-4410-A953-3CDFF50FD65C}" destId="{85C246AC-2AB2-41C1-B3E2-415676DED267}" srcOrd="3" destOrd="0" parTransId="{EFEE9217-3F2A-4258-B1B4-57A707A01915}" sibTransId="{C65948F8-76CD-4CE9-8705-1E0668D2AA2B}"/>
    <dgm:cxn modelId="{907D09D4-B3AD-419B-A0AD-BB8C8726E9CD}" type="presOf" srcId="{46089917-4508-43D2-AA80-7B7EE4EA9B88}" destId="{4BBC2333-E37F-4D57-9A7E-3627C386AA86}" srcOrd="0" destOrd="0" presId="urn:microsoft.com/office/officeart/2005/8/layout/radial5"/>
    <dgm:cxn modelId="{85A6862F-9471-41EA-850B-B8B1A81955E9}" type="presOf" srcId="{56C800C3-504A-4312-AE41-1FBFCC211277}" destId="{8347B773-87D3-4D14-83EC-FE79A41C025D}" srcOrd="0" destOrd="0" presId="urn:microsoft.com/office/officeart/2005/8/layout/radial5"/>
    <dgm:cxn modelId="{4C38B0BA-2CF4-416F-AC1F-405B00C2E030}" type="presOf" srcId="{12CD33F4-4A7D-4C26-9B7A-9C06B136504B}" destId="{644B595B-69BF-4FC0-B29F-5CCB6FFEAADD}" srcOrd="0" destOrd="0" presId="urn:microsoft.com/office/officeart/2005/8/layout/radial5"/>
    <dgm:cxn modelId="{97380AE9-2BFD-4DA6-8415-5AEAEDEE49B5}" srcId="{A64CA347-0BDC-4410-A953-3CDFF50FD65C}" destId="{46089917-4508-43D2-AA80-7B7EE4EA9B88}" srcOrd="6" destOrd="0" parTransId="{D13338E6-00A6-489B-95C4-8870C221C0B8}" sibTransId="{67269975-DAFD-45DD-A103-A0B56B9B4B09}"/>
    <dgm:cxn modelId="{E67ADDF7-0CCC-4736-B3CA-53298FD385E3}" srcId="{A64CA347-0BDC-4410-A953-3CDFF50FD65C}" destId="{AAF02D6C-1508-4638-A3FD-FF5CFA55D14A}" srcOrd="1" destOrd="0" parTransId="{808EF67D-87DA-4229-A21D-93A3FF482503}" sibTransId="{4F07CB25-60A7-4496-8029-EE7C582FA8D2}"/>
    <dgm:cxn modelId="{276259B2-40C7-4579-BA86-F614011FEE8D}" type="presOf" srcId="{AAF02D6C-1508-4638-A3FD-FF5CFA55D14A}" destId="{75220C0D-BA3C-4E78-B3EA-CC9BE0A8833C}" srcOrd="0" destOrd="0" presId="urn:microsoft.com/office/officeart/2005/8/layout/radial5"/>
    <dgm:cxn modelId="{783E8B7C-49AA-4D20-8372-6ED2B035CE34}" type="presOf" srcId="{808EF67D-87DA-4229-A21D-93A3FF482503}" destId="{EBCE3BA6-4E8E-4474-BCF3-AD1571631544}" srcOrd="1" destOrd="0" presId="urn:microsoft.com/office/officeart/2005/8/layout/radial5"/>
    <dgm:cxn modelId="{3F789A26-A536-46BF-9BB3-1CBB681DEE25}" srcId="{A64CA347-0BDC-4410-A953-3CDFF50FD65C}" destId="{1D6C9404-F603-4377-A638-342854B822F2}" srcOrd="5" destOrd="0" parTransId="{885B8267-A55A-4E75-BA29-C4FE59543BE7}" sibTransId="{5BEF46E7-B9B1-4F24-A792-E0317CDCBB53}"/>
    <dgm:cxn modelId="{524D2FBD-B057-4B4F-B798-E7A154BB2146}" srcId="{A64CA347-0BDC-4410-A953-3CDFF50FD65C}" destId="{ADC21F3B-C97F-410A-A07D-35A6831E26F5}" srcOrd="4" destOrd="0" parTransId="{C062ED58-CB22-4241-885E-E164A292FF21}" sibTransId="{69911023-8C15-42C3-8CA5-1E3F86F61615}"/>
    <dgm:cxn modelId="{D6B1C3A5-E98F-41B7-90F1-4BDC364ADF03}" type="presOf" srcId="{885B8267-A55A-4E75-BA29-C4FE59543BE7}" destId="{D861FA44-F58A-4EE2-8154-9541CEA71BA0}" srcOrd="1" destOrd="0" presId="urn:microsoft.com/office/officeart/2005/8/layout/radial5"/>
    <dgm:cxn modelId="{0EB7B51F-5F9E-4C9A-8E0A-0C2DBA6276BB}" type="presOf" srcId="{12CD33F4-4A7D-4C26-9B7A-9C06B136504B}" destId="{9F1D02DF-6E3A-4ED6-8A37-412341C16354}" srcOrd="1" destOrd="0" presId="urn:microsoft.com/office/officeart/2005/8/layout/radial5"/>
    <dgm:cxn modelId="{63FC676C-9596-48FA-8A10-E91EBC54B50B}" type="presOf" srcId="{92F6D31D-ACCE-474B-88D5-3ABB9813130A}" destId="{FA704D77-E79D-4D13-8D92-DCF265207CBF}" srcOrd="0" destOrd="0" presId="urn:microsoft.com/office/officeart/2005/8/layout/radial5"/>
    <dgm:cxn modelId="{5D420525-1B65-4E83-8155-ACD12ED19057}" type="presOf" srcId="{56C800C3-504A-4312-AE41-1FBFCC211277}" destId="{8950C4AC-0C6A-462D-BBDE-B8119985EEF7}" srcOrd="1" destOrd="0" presId="urn:microsoft.com/office/officeart/2005/8/layout/radial5"/>
    <dgm:cxn modelId="{22268E03-0BBA-4CAA-8001-0012AFCB1D0E}" srcId="{416F4608-07BB-49D7-B6B3-4D0C651CF9BD}" destId="{A64CA347-0BDC-4410-A953-3CDFF50FD65C}" srcOrd="0" destOrd="0" parTransId="{F2640C03-643E-4FE0-9261-0DA5857B1D64}" sibTransId="{553708A8-2A8D-4D34-AEA4-32C1D897ED27}"/>
    <dgm:cxn modelId="{2BD2FE26-5153-4746-BB55-EF0CCDD4F374}" type="presOf" srcId="{D13338E6-00A6-489B-95C4-8870C221C0B8}" destId="{30E10E9D-F159-4561-AF47-A0BB865BB205}" srcOrd="1" destOrd="0" presId="urn:microsoft.com/office/officeart/2005/8/layout/radial5"/>
    <dgm:cxn modelId="{C155A126-AB89-432C-8CDC-043F59474068}" type="presOf" srcId="{885B8267-A55A-4E75-BA29-C4FE59543BE7}" destId="{A35EA9F5-B0CA-43FE-BD21-8167BBE44BBD}" srcOrd="0" destOrd="0" presId="urn:microsoft.com/office/officeart/2005/8/layout/radial5"/>
    <dgm:cxn modelId="{03452AEE-B211-4C47-980A-23964F301964}" type="presParOf" srcId="{CAFB2184-EC15-488F-BCB3-96D001314BB8}" destId="{0492F7DE-73FF-431E-A248-7C7D048B3432}" srcOrd="0" destOrd="0" presId="urn:microsoft.com/office/officeart/2005/8/layout/radial5"/>
    <dgm:cxn modelId="{4E795F13-5F04-489A-A40D-CC8BBD02D00D}" type="presParOf" srcId="{CAFB2184-EC15-488F-BCB3-96D001314BB8}" destId="{8347B773-87D3-4D14-83EC-FE79A41C025D}" srcOrd="1" destOrd="0" presId="urn:microsoft.com/office/officeart/2005/8/layout/radial5"/>
    <dgm:cxn modelId="{F344E5D8-10AF-43C6-A483-70FAC85D07E9}" type="presParOf" srcId="{8347B773-87D3-4D14-83EC-FE79A41C025D}" destId="{8950C4AC-0C6A-462D-BBDE-B8119985EEF7}" srcOrd="0" destOrd="0" presId="urn:microsoft.com/office/officeart/2005/8/layout/radial5"/>
    <dgm:cxn modelId="{A22890A4-8BB5-40FC-B299-2D3725C295A0}" type="presParOf" srcId="{CAFB2184-EC15-488F-BCB3-96D001314BB8}" destId="{FA704D77-E79D-4D13-8D92-DCF265207CBF}" srcOrd="2" destOrd="0" presId="urn:microsoft.com/office/officeart/2005/8/layout/radial5"/>
    <dgm:cxn modelId="{5FE6F77D-9C3F-4AA3-92FA-3354871BE118}" type="presParOf" srcId="{CAFB2184-EC15-488F-BCB3-96D001314BB8}" destId="{FE8A0DA5-1E05-4D2E-B8E3-17F587A096C6}" srcOrd="3" destOrd="0" presId="urn:microsoft.com/office/officeart/2005/8/layout/radial5"/>
    <dgm:cxn modelId="{FC87CBF9-1012-44A1-9C76-0AEEF81217EC}" type="presParOf" srcId="{FE8A0DA5-1E05-4D2E-B8E3-17F587A096C6}" destId="{EBCE3BA6-4E8E-4474-BCF3-AD1571631544}" srcOrd="0" destOrd="0" presId="urn:microsoft.com/office/officeart/2005/8/layout/radial5"/>
    <dgm:cxn modelId="{B4D7DCF1-444B-430E-A799-D1FB8039DE96}" type="presParOf" srcId="{CAFB2184-EC15-488F-BCB3-96D001314BB8}" destId="{75220C0D-BA3C-4E78-B3EA-CC9BE0A8833C}" srcOrd="4" destOrd="0" presId="urn:microsoft.com/office/officeart/2005/8/layout/radial5"/>
    <dgm:cxn modelId="{35F3663B-29C6-4A80-96CB-E6A0500C75D2}" type="presParOf" srcId="{CAFB2184-EC15-488F-BCB3-96D001314BB8}" destId="{644B595B-69BF-4FC0-B29F-5CCB6FFEAADD}" srcOrd="5" destOrd="0" presId="urn:microsoft.com/office/officeart/2005/8/layout/radial5"/>
    <dgm:cxn modelId="{4A810150-1D3D-41DA-938F-786D030C2C58}" type="presParOf" srcId="{644B595B-69BF-4FC0-B29F-5CCB6FFEAADD}" destId="{9F1D02DF-6E3A-4ED6-8A37-412341C16354}" srcOrd="0" destOrd="0" presId="urn:microsoft.com/office/officeart/2005/8/layout/radial5"/>
    <dgm:cxn modelId="{1E56A6E6-0B79-42AB-AD1A-C87CF8E70F3A}" type="presParOf" srcId="{CAFB2184-EC15-488F-BCB3-96D001314BB8}" destId="{6E0FCB20-4EEB-40D8-8906-E5B16181C30C}" srcOrd="6" destOrd="0" presId="urn:microsoft.com/office/officeart/2005/8/layout/radial5"/>
    <dgm:cxn modelId="{BD920D74-2E1F-42DC-96ED-74359FFA3512}" type="presParOf" srcId="{CAFB2184-EC15-488F-BCB3-96D001314BB8}" destId="{B783FE8E-907B-4C2C-B695-6914080798E3}" srcOrd="7" destOrd="0" presId="urn:microsoft.com/office/officeart/2005/8/layout/radial5"/>
    <dgm:cxn modelId="{757E2960-220D-4766-A2A7-CB146FD0C273}" type="presParOf" srcId="{B783FE8E-907B-4C2C-B695-6914080798E3}" destId="{A5A231F1-37D9-4E9F-A19F-0D4B9E04AE14}" srcOrd="0" destOrd="0" presId="urn:microsoft.com/office/officeart/2005/8/layout/radial5"/>
    <dgm:cxn modelId="{867D9DB0-CE94-4AA9-82D0-A46A2196BD01}" type="presParOf" srcId="{CAFB2184-EC15-488F-BCB3-96D001314BB8}" destId="{1261C45A-6F9B-46F4-BE9B-84C1F7CBF352}" srcOrd="8" destOrd="0" presId="urn:microsoft.com/office/officeart/2005/8/layout/radial5"/>
    <dgm:cxn modelId="{ACDD67F5-140B-43F4-81C6-3FC204B2B826}" type="presParOf" srcId="{CAFB2184-EC15-488F-BCB3-96D001314BB8}" destId="{2944E50E-3869-472D-925D-E53C9B8EA0D1}" srcOrd="9" destOrd="0" presId="urn:microsoft.com/office/officeart/2005/8/layout/radial5"/>
    <dgm:cxn modelId="{6EE95F23-15B2-4367-89E0-12AD25780F17}" type="presParOf" srcId="{2944E50E-3869-472D-925D-E53C9B8EA0D1}" destId="{5D463996-97FB-4864-9446-2542DE1AD500}" srcOrd="0" destOrd="0" presId="urn:microsoft.com/office/officeart/2005/8/layout/radial5"/>
    <dgm:cxn modelId="{19D5B989-A29B-4B13-AF90-3E60BE2352A6}" type="presParOf" srcId="{CAFB2184-EC15-488F-BCB3-96D001314BB8}" destId="{6B94B901-6185-403C-83D9-A8F164FC7A42}" srcOrd="10" destOrd="0" presId="urn:microsoft.com/office/officeart/2005/8/layout/radial5"/>
    <dgm:cxn modelId="{05906E34-B1EC-4C5F-8189-2503F2288CAF}" type="presParOf" srcId="{CAFB2184-EC15-488F-BCB3-96D001314BB8}" destId="{A35EA9F5-B0CA-43FE-BD21-8167BBE44BBD}" srcOrd="11" destOrd="0" presId="urn:microsoft.com/office/officeart/2005/8/layout/radial5"/>
    <dgm:cxn modelId="{F569B189-65DE-41C8-A36A-F4DAE4EDFCA2}" type="presParOf" srcId="{A35EA9F5-B0CA-43FE-BD21-8167BBE44BBD}" destId="{D861FA44-F58A-4EE2-8154-9541CEA71BA0}" srcOrd="0" destOrd="0" presId="urn:microsoft.com/office/officeart/2005/8/layout/radial5"/>
    <dgm:cxn modelId="{F4003030-60CC-46BD-95D9-0A031D9EF90A}" type="presParOf" srcId="{CAFB2184-EC15-488F-BCB3-96D001314BB8}" destId="{0BDB3250-D354-4342-A31A-0531D40C1635}" srcOrd="12" destOrd="0" presId="urn:microsoft.com/office/officeart/2005/8/layout/radial5"/>
    <dgm:cxn modelId="{87B68F1B-802E-44F1-A9D7-EEAFD75046AB}" type="presParOf" srcId="{CAFB2184-EC15-488F-BCB3-96D001314BB8}" destId="{0976C174-FE16-45BA-9334-82CB8FFB7318}" srcOrd="13" destOrd="0" presId="urn:microsoft.com/office/officeart/2005/8/layout/radial5"/>
    <dgm:cxn modelId="{795EB310-B12D-4AC7-BE76-1F1E05B87F62}" type="presParOf" srcId="{0976C174-FE16-45BA-9334-82CB8FFB7318}" destId="{30E10E9D-F159-4561-AF47-A0BB865BB205}" srcOrd="0" destOrd="0" presId="urn:microsoft.com/office/officeart/2005/8/layout/radial5"/>
    <dgm:cxn modelId="{9D7DA6A5-821F-466B-B318-6D675A00E221}" type="presParOf" srcId="{CAFB2184-EC15-488F-BCB3-96D001314BB8}" destId="{4BBC2333-E37F-4D57-9A7E-3627C386AA86}" srcOrd="14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FF45E2F-E173-4B13-BDC1-51D1D3E5DC45}" type="doc">
      <dgm:prSet loTypeId="urn:microsoft.com/office/officeart/2008/layout/VerticalCurvedList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4E01004-8FD4-419D-BF5F-D75F00113448}">
      <dgm:prSet phldrT="[Текст]" custT="1"/>
      <dgm:spPr>
        <a:gradFill flip="none" rotWithShape="1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  <a:tileRect/>
        </a:gradFill>
      </dgm:spPr>
      <dgm:t>
        <a:bodyPr/>
        <a:lstStyle/>
        <a:p>
          <a:r>
            <a:rPr lang="ru-RU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Создание общего финансового рынка ЕАЭС </a:t>
          </a:r>
          <a:endParaRPr lang="ru-RU" sz="1500" kern="1200" dirty="0">
            <a:latin typeface="Book Antiqua" panose="02040602050305030304" pitchFamily="18" charset="0"/>
            <a:ea typeface="+mn-ea"/>
            <a:cs typeface="Times New Roman" panose="02020603050405020304" pitchFamily="18" charset="0"/>
          </a:endParaRPr>
        </a:p>
      </dgm:t>
    </dgm:pt>
    <dgm:pt modelId="{4F422544-C990-4522-878D-9D3530386DF0}" type="parTrans" cxnId="{2DA27E13-AC7C-4AD2-AD71-2F998658ECD0}">
      <dgm:prSet/>
      <dgm:spPr/>
      <dgm:t>
        <a:bodyPr/>
        <a:lstStyle/>
        <a:p>
          <a:endParaRPr lang="ru-RU"/>
        </a:p>
      </dgm:t>
    </dgm:pt>
    <dgm:pt modelId="{861CAE0E-704E-4F40-987C-AA74F3DDE97A}" type="sibTrans" cxnId="{2DA27E13-AC7C-4AD2-AD71-2F998658ECD0}">
      <dgm:prSet/>
      <dgm:spPr/>
      <dgm:t>
        <a:bodyPr/>
        <a:lstStyle/>
        <a:p>
          <a:endParaRPr lang="ru-RU"/>
        </a:p>
      </dgm:t>
    </dgm:pt>
    <dgm:pt modelId="{3C71D1E6-E8A4-4B30-B704-5AEF43899C0D}">
      <dgm:prSet phldrT="[Текст]" custT="1"/>
      <dgm:spPr>
        <a:gradFill flip="none" rotWithShape="1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  <a:tileRect/>
        </a:gradFill>
      </dgm:spPr>
      <dgm:t>
        <a:bodyPr/>
        <a:lstStyle/>
        <a:p>
          <a:r>
            <a:rPr lang="ru-RU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Гармонизация законодательства государств-участников ТС и ЕЭП в финансовой сфере</a:t>
          </a:r>
          <a:r>
            <a:rPr lang="en-US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 </a:t>
          </a:r>
          <a:endParaRPr lang="ru-RU" sz="1500" kern="1200" dirty="0">
            <a:latin typeface="Book Antiqua" panose="02040602050305030304" pitchFamily="18" charset="0"/>
            <a:ea typeface="+mn-ea"/>
            <a:cs typeface="Times New Roman" panose="02020603050405020304" pitchFamily="18" charset="0"/>
          </a:endParaRPr>
        </a:p>
      </dgm:t>
    </dgm:pt>
    <dgm:pt modelId="{5E47182B-2C61-440C-8165-A43CA87C237A}" type="parTrans" cxnId="{4A1254D8-57E8-4DAD-A692-FA610473DA70}">
      <dgm:prSet/>
      <dgm:spPr/>
      <dgm:t>
        <a:bodyPr/>
        <a:lstStyle/>
        <a:p>
          <a:endParaRPr lang="ru-RU"/>
        </a:p>
      </dgm:t>
    </dgm:pt>
    <dgm:pt modelId="{7AB57823-DA11-4E58-B505-6CB7AA8EDA3D}" type="sibTrans" cxnId="{4A1254D8-57E8-4DAD-A692-FA610473DA70}">
      <dgm:prSet/>
      <dgm:spPr/>
      <dgm:t>
        <a:bodyPr/>
        <a:lstStyle/>
        <a:p>
          <a:endParaRPr lang="ru-RU"/>
        </a:p>
      </dgm:t>
    </dgm:pt>
    <dgm:pt modelId="{20BFB9EF-E207-42E4-A816-FC04F358A386}">
      <dgm:prSet phldrT="[Текст]" custT="1"/>
      <dgm:spPr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</dgm:spPr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ru-RU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НИР №</a:t>
          </a:r>
          <a:r>
            <a:rPr lang="en-US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  <a:sym typeface="Wingdings" panose="05000000000000000000" pitchFamily="2" charset="2"/>
            </a:rPr>
            <a:t>1</a:t>
          </a:r>
          <a:r>
            <a:rPr lang="ru-RU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  <a:sym typeface="Wingdings" panose="05000000000000000000" pitchFamily="2" charset="2"/>
            </a:rPr>
            <a:t></a:t>
          </a:r>
          <a:r>
            <a:rPr lang="en-US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  <a:sym typeface="Wingdings" panose="05000000000000000000" pitchFamily="2" charset="2"/>
            </a:rPr>
            <a:t> </a:t>
          </a:r>
          <a:r>
            <a:rPr lang="ru-RU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  <a:sym typeface="Wingdings" panose="05000000000000000000" pitchFamily="2" charset="2"/>
            </a:rPr>
            <a:t>Разработка Стратегии развития финансовых рынков    государств-членов ТС и ЕЭП на период до 2025 года</a:t>
          </a:r>
          <a:endParaRPr lang="ru-RU" sz="1500" kern="1200" dirty="0">
            <a:latin typeface="Book Antiqua" panose="02040602050305030304" pitchFamily="18" charset="0"/>
            <a:ea typeface="+mn-ea"/>
            <a:cs typeface="Times New Roman" panose="02020603050405020304" pitchFamily="18" charset="0"/>
          </a:endParaRPr>
        </a:p>
      </dgm:t>
    </dgm:pt>
    <dgm:pt modelId="{E36964A8-C6E3-4DBE-9599-F9027BBA0A5D}" type="parTrans" cxnId="{10BAE0AA-C6DC-4040-8836-8D0BC4CBE8F3}">
      <dgm:prSet/>
      <dgm:spPr/>
      <dgm:t>
        <a:bodyPr/>
        <a:lstStyle/>
        <a:p>
          <a:endParaRPr lang="ru-RU"/>
        </a:p>
      </dgm:t>
    </dgm:pt>
    <dgm:pt modelId="{EEA94701-4F61-4111-9829-15A1CC99D55E}" type="sibTrans" cxnId="{10BAE0AA-C6DC-4040-8836-8D0BC4CBE8F3}">
      <dgm:prSet/>
      <dgm:spPr/>
      <dgm:t>
        <a:bodyPr/>
        <a:lstStyle/>
        <a:p>
          <a:endParaRPr lang="ru-RU"/>
        </a:p>
      </dgm:t>
    </dgm:pt>
    <dgm:pt modelId="{F7F9940F-E0EA-403C-BE4C-8288B97C3CFB}">
      <dgm:prSet phldrT="[Текст]" custT="1"/>
      <dgm:spPr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</dgm:spPr>
      <dgm:t>
        <a:bodyPr/>
        <a:lstStyle/>
        <a:p>
          <a:r>
            <a:rPr lang="ru-RU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НИР №</a:t>
          </a:r>
          <a:r>
            <a:rPr lang="en-US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2</a:t>
          </a:r>
          <a:r>
            <a:rPr lang="ru-RU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  <a:sym typeface="Wingdings" panose="05000000000000000000" pitchFamily="2" charset="2"/>
            </a:rPr>
            <a:t></a:t>
          </a:r>
          <a:r>
            <a:rPr lang="en-US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  <a:sym typeface="Wingdings" panose="05000000000000000000" pitchFamily="2" charset="2"/>
            </a:rPr>
            <a:t> </a:t>
          </a:r>
          <a:r>
            <a:rPr lang="ru-RU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  <a:sym typeface="Wingdings" panose="05000000000000000000" pitchFamily="2" charset="2"/>
            </a:rPr>
            <a:t>Формирование единого биржевого пространства и централизация институтов учета и расчетов в рамках ТС и ЕЭП</a:t>
          </a:r>
          <a:r>
            <a:rPr lang="en-US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  <a:sym typeface="Wingdings" panose="05000000000000000000" pitchFamily="2" charset="2"/>
            </a:rPr>
            <a:t> </a:t>
          </a:r>
          <a:endParaRPr lang="ru-RU" sz="1500" strike="noStrike" kern="1200" dirty="0">
            <a:latin typeface="Book Antiqua" panose="02040602050305030304" pitchFamily="18" charset="0"/>
            <a:ea typeface="+mn-ea"/>
            <a:cs typeface="Times New Roman" panose="02020603050405020304" pitchFamily="18" charset="0"/>
          </a:endParaRPr>
        </a:p>
      </dgm:t>
    </dgm:pt>
    <dgm:pt modelId="{3694A639-4BF1-4D2E-9F86-B3B1351D0582}" type="parTrans" cxnId="{0423CA0C-7DBE-4856-B2EF-56E7A0C5B3DD}">
      <dgm:prSet/>
      <dgm:spPr/>
      <dgm:t>
        <a:bodyPr/>
        <a:lstStyle/>
        <a:p>
          <a:endParaRPr lang="ru-RU"/>
        </a:p>
      </dgm:t>
    </dgm:pt>
    <dgm:pt modelId="{5805D069-DF37-40E7-AC0C-171C334F1386}" type="sibTrans" cxnId="{0423CA0C-7DBE-4856-B2EF-56E7A0C5B3DD}">
      <dgm:prSet/>
      <dgm:spPr/>
      <dgm:t>
        <a:bodyPr/>
        <a:lstStyle/>
        <a:p>
          <a:endParaRPr lang="ru-RU"/>
        </a:p>
      </dgm:t>
    </dgm:pt>
    <dgm:pt modelId="{2E6C6928-E2EF-48B9-9CF8-556E541D7222}">
      <dgm:prSet custT="1"/>
      <dgm:spPr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</dgm:spPr>
      <dgm:t>
        <a:bodyPr/>
        <a:lstStyle/>
        <a:p>
          <a:r>
            <a:rPr lang="ru-RU" sz="1500" strike="noStrike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Концепция создания Наднационального органа по регулированию финансового рынка</a:t>
          </a:r>
          <a:endParaRPr lang="ru-RU" sz="1500" dirty="0">
            <a:latin typeface="Book Antiqua" panose="02040602050305030304" pitchFamily="18" charset="0"/>
          </a:endParaRPr>
        </a:p>
      </dgm:t>
    </dgm:pt>
    <dgm:pt modelId="{55B7E796-8270-40FE-875A-05C5A700E51F}" type="parTrans" cxnId="{7F35664D-935C-49BA-B82F-DE340A34FE0D}">
      <dgm:prSet/>
      <dgm:spPr/>
      <dgm:t>
        <a:bodyPr/>
        <a:lstStyle/>
        <a:p>
          <a:endParaRPr lang="ru-RU"/>
        </a:p>
      </dgm:t>
    </dgm:pt>
    <dgm:pt modelId="{8C3ED80D-6C00-4228-8960-F7DF38EB4D81}" type="sibTrans" cxnId="{7F35664D-935C-49BA-B82F-DE340A34FE0D}">
      <dgm:prSet/>
      <dgm:spPr/>
      <dgm:t>
        <a:bodyPr/>
        <a:lstStyle/>
        <a:p>
          <a:endParaRPr lang="ru-RU"/>
        </a:p>
      </dgm:t>
    </dgm:pt>
    <dgm:pt modelId="{7FC593B3-A404-43D5-9543-348801E4AB48}">
      <dgm:prSet custT="1"/>
      <dgm:spPr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</dgm:spPr>
      <dgm:t>
        <a:bodyPr/>
        <a:lstStyle/>
        <a:p>
          <a:r>
            <a:rPr lang="ru-RU" sz="1500" dirty="0" smtClean="0">
              <a:latin typeface="Book Antiqua" panose="02040602050305030304" pitchFamily="18" charset="0"/>
            </a:rPr>
            <a:t>  Взаимный допуск брокеров и дилеров стран-участниц ТС и ЕЭП на национальные фондовые биржи   </a:t>
          </a:r>
          <a:endParaRPr lang="ru-RU" sz="1500" dirty="0">
            <a:latin typeface="Book Antiqua" panose="02040602050305030304" pitchFamily="18" charset="0"/>
          </a:endParaRPr>
        </a:p>
      </dgm:t>
    </dgm:pt>
    <dgm:pt modelId="{23324F38-BBE7-4879-BF20-3B9AE760B67D}" type="parTrans" cxnId="{5E7EA3A1-3BCC-466A-AA80-0B65D9EE4BDB}">
      <dgm:prSet/>
      <dgm:spPr/>
      <dgm:t>
        <a:bodyPr/>
        <a:lstStyle/>
        <a:p>
          <a:endParaRPr lang="ru-RU"/>
        </a:p>
      </dgm:t>
    </dgm:pt>
    <dgm:pt modelId="{E4228344-A40A-4849-B26E-9DD1B3285CCC}" type="sibTrans" cxnId="{5E7EA3A1-3BCC-466A-AA80-0B65D9EE4BDB}">
      <dgm:prSet/>
      <dgm:spPr/>
      <dgm:t>
        <a:bodyPr/>
        <a:lstStyle/>
        <a:p>
          <a:endParaRPr lang="ru-RU"/>
        </a:p>
      </dgm:t>
    </dgm:pt>
    <dgm:pt modelId="{5EAB2D90-15CB-4776-BC45-41F4FD938E21}">
      <dgm:prSet custT="1"/>
      <dgm:spPr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</dgm:spPr>
      <dgm:t>
        <a:bodyPr/>
        <a:lstStyle/>
        <a:p>
          <a:r>
            <a:rPr lang="ru-RU" sz="1500" dirty="0" smtClean="0">
              <a:latin typeface="Book Antiqua" panose="02040602050305030304" pitchFamily="18" charset="0"/>
            </a:rPr>
            <a:t>Взаимное признание полисов ОСАГО странами-участницами ТС и ЕЭП</a:t>
          </a:r>
          <a:endParaRPr lang="ru-RU" sz="1500" dirty="0">
            <a:latin typeface="Book Antiqua" panose="02040602050305030304" pitchFamily="18" charset="0"/>
          </a:endParaRPr>
        </a:p>
      </dgm:t>
    </dgm:pt>
    <dgm:pt modelId="{3F9414D5-3CEF-4A85-9A64-3357292F1026}" type="parTrans" cxnId="{946136F3-6924-4F0F-87E0-12975907F354}">
      <dgm:prSet/>
      <dgm:spPr/>
      <dgm:t>
        <a:bodyPr/>
        <a:lstStyle/>
        <a:p>
          <a:endParaRPr lang="ru-RU"/>
        </a:p>
      </dgm:t>
    </dgm:pt>
    <dgm:pt modelId="{9E2F5514-30F6-48E4-9A4A-8558B58AA8D9}" type="sibTrans" cxnId="{946136F3-6924-4F0F-87E0-12975907F354}">
      <dgm:prSet/>
      <dgm:spPr/>
      <dgm:t>
        <a:bodyPr/>
        <a:lstStyle/>
        <a:p>
          <a:endParaRPr lang="ru-RU"/>
        </a:p>
      </dgm:t>
    </dgm:pt>
    <dgm:pt modelId="{0AA096E4-F67A-4A8E-9BED-B2E00AEDF9A1}" type="pres">
      <dgm:prSet presAssocID="{EFF45E2F-E173-4B13-BDC1-51D1D3E5DC45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0B3CF96D-7B88-4069-A151-107227835000}" type="pres">
      <dgm:prSet presAssocID="{EFF45E2F-E173-4B13-BDC1-51D1D3E5DC45}" presName="Name1" presStyleCnt="0"/>
      <dgm:spPr/>
      <dgm:t>
        <a:bodyPr/>
        <a:lstStyle/>
        <a:p>
          <a:endParaRPr lang="ru-RU"/>
        </a:p>
      </dgm:t>
    </dgm:pt>
    <dgm:pt modelId="{EEBD86A6-5020-4AEF-B8AA-1018DB65DC50}" type="pres">
      <dgm:prSet presAssocID="{EFF45E2F-E173-4B13-BDC1-51D1D3E5DC45}" presName="cycle" presStyleCnt="0"/>
      <dgm:spPr/>
      <dgm:t>
        <a:bodyPr/>
        <a:lstStyle/>
        <a:p>
          <a:endParaRPr lang="ru-RU"/>
        </a:p>
      </dgm:t>
    </dgm:pt>
    <dgm:pt modelId="{DE485907-3F86-4532-BE33-ABB7F70AB796}" type="pres">
      <dgm:prSet presAssocID="{EFF45E2F-E173-4B13-BDC1-51D1D3E5DC45}" presName="srcNode" presStyleLbl="node1" presStyleIdx="0" presStyleCnt="7"/>
      <dgm:spPr/>
      <dgm:t>
        <a:bodyPr/>
        <a:lstStyle/>
        <a:p>
          <a:endParaRPr lang="ru-RU"/>
        </a:p>
      </dgm:t>
    </dgm:pt>
    <dgm:pt modelId="{20D82740-A365-4927-B17E-D91934F00D42}" type="pres">
      <dgm:prSet presAssocID="{EFF45E2F-E173-4B13-BDC1-51D1D3E5DC45}" presName="conn" presStyleLbl="parChTrans1D2" presStyleIdx="0" presStyleCnt="1"/>
      <dgm:spPr/>
      <dgm:t>
        <a:bodyPr/>
        <a:lstStyle/>
        <a:p>
          <a:endParaRPr lang="ru-RU"/>
        </a:p>
      </dgm:t>
    </dgm:pt>
    <dgm:pt modelId="{B69450E8-5173-414F-9D9C-70A981870F99}" type="pres">
      <dgm:prSet presAssocID="{EFF45E2F-E173-4B13-BDC1-51D1D3E5DC45}" presName="extraNode" presStyleLbl="node1" presStyleIdx="0" presStyleCnt="7"/>
      <dgm:spPr/>
      <dgm:t>
        <a:bodyPr/>
        <a:lstStyle/>
        <a:p>
          <a:endParaRPr lang="ru-RU"/>
        </a:p>
      </dgm:t>
    </dgm:pt>
    <dgm:pt modelId="{B58CAA23-C49E-490C-9DA9-DD9BEEB4386F}" type="pres">
      <dgm:prSet presAssocID="{EFF45E2F-E173-4B13-BDC1-51D1D3E5DC45}" presName="dstNode" presStyleLbl="node1" presStyleIdx="0" presStyleCnt="7"/>
      <dgm:spPr/>
      <dgm:t>
        <a:bodyPr/>
        <a:lstStyle/>
        <a:p>
          <a:endParaRPr lang="ru-RU"/>
        </a:p>
      </dgm:t>
    </dgm:pt>
    <dgm:pt modelId="{424ECC5A-B02F-4271-96E6-517A7CAA5468}" type="pres">
      <dgm:prSet presAssocID="{14E01004-8FD4-419D-BF5F-D75F00113448}" presName="text_1" presStyleLbl="node1" presStyleIdx="0" presStyleCnt="7" custLinFactNeighborX="493" custLinFactNeighborY="-351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06126F-C99D-4D62-A1FE-356FE7B1850B}" type="pres">
      <dgm:prSet presAssocID="{14E01004-8FD4-419D-BF5F-D75F00113448}" presName="accent_1" presStyleCnt="0"/>
      <dgm:spPr/>
      <dgm:t>
        <a:bodyPr/>
        <a:lstStyle/>
        <a:p>
          <a:endParaRPr lang="ru-RU"/>
        </a:p>
      </dgm:t>
    </dgm:pt>
    <dgm:pt modelId="{26ADCB6E-F609-4B1F-8187-1D8D85352EEC}" type="pres">
      <dgm:prSet presAssocID="{14E01004-8FD4-419D-BF5F-D75F00113448}" presName="accentRepeatNode" presStyleLbl="solidFgAcc1" presStyleIdx="0" presStyleCnt="7" custLinFactNeighborX="1479" custLinFactNeighborY="-98"/>
      <dgm:spPr/>
      <dgm:t>
        <a:bodyPr/>
        <a:lstStyle/>
        <a:p>
          <a:endParaRPr lang="ru-RU"/>
        </a:p>
      </dgm:t>
    </dgm:pt>
    <dgm:pt modelId="{653A904B-2945-4DD7-8DE1-CB62F447A67F}" type="pres">
      <dgm:prSet presAssocID="{3C71D1E6-E8A4-4B30-B704-5AEF43899C0D}" presName="text_2" presStyleLbl="node1" presStyleIdx="1" presStyleCnt="7" custLinFactNeighborX="717" custLinFactNeighborY="164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FB52A5-8F4E-46F4-B92A-6179787572C3}" type="pres">
      <dgm:prSet presAssocID="{3C71D1E6-E8A4-4B30-B704-5AEF43899C0D}" presName="accent_2" presStyleCnt="0"/>
      <dgm:spPr/>
      <dgm:t>
        <a:bodyPr/>
        <a:lstStyle/>
        <a:p>
          <a:endParaRPr lang="ru-RU"/>
        </a:p>
      </dgm:t>
    </dgm:pt>
    <dgm:pt modelId="{795E5A4E-731C-4F0A-BB61-44169590540D}" type="pres">
      <dgm:prSet presAssocID="{3C71D1E6-E8A4-4B30-B704-5AEF43899C0D}" presName="accentRepeatNode" presStyleLbl="solidFgAcc1" presStyleIdx="1" presStyleCnt="7" custLinFactNeighborX="3239" custLinFactNeighborY="-2598"/>
      <dgm:spPr/>
      <dgm:t>
        <a:bodyPr/>
        <a:lstStyle/>
        <a:p>
          <a:endParaRPr lang="ru-RU"/>
        </a:p>
      </dgm:t>
    </dgm:pt>
    <dgm:pt modelId="{6B8AE3F6-BF95-47D0-BC1B-E67083D7DF5A}" type="pres">
      <dgm:prSet presAssocID="{20BFB9EF-E207-42E4-A816-FC04F358A386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C032050-402F-46D0-B0DD-DD4C8DFFE041}" type="pres">
      <dgm:prSet presAssocID="{20BFB9EF-E207-42E4-A816-FC04F358A386}" presName="accent_3" presStyleCnt="0"/>
      <dgm:spPr/>
      <dgm:t>
        <a:bodyPr/>
        <a:lstStyle/>
        <a:p>
          <a:endParaRPr lang="ru-RU"/>
        </a:p>
      </dgm:t>
    </dgm:pt>
    <dgm:pt modelId="{EB90A5C8-1B87-4CA5-9481-8B730946B8D7}" type="pres">
      <dgm:prSet presAssocID="{20BFB9EF-E207-42E4-A816-FC04F358A386}" presName="accentRepeatNode" presStyleLbl="solidFgAcc1" presStyleIdx="2" presStyleCnt="7" custLinFactNeighborX="2032" custLinFactNeighborY="3219"/>
      <dgm:spPr/>
      <dgm:t>
        <a:bodyPr/>
        <a:lstStyle/>
        <a:p>
          <a:endParaRPr lang="ru-RU"/>
        </a:p>
      </dgm:t>
    </dgm:pt>
    <dgm:pt modelId="{B57F3D88-7CF9-4269-8D89-807D04C932AF}" type="pres">
      <dgm:prSet presAssocID="{F7F9940F-E0EA-403C-BE4C-8288B97C3CFB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07A76D-29B9-479A-A2E1-00159F5646E8}" type="pres">
      <dgm:prSet presAssocID="{F7F9940F-E0EA-403C-BE4C-8288B97C3CFB}" presName="accent_4" presStyleCnt="0"/>
      <dgm:spPr/>
      <dgm:t>
        <a:bodyPr/>
        <a:lstStyle/>
        <a:p>
          <a:endParaRPr lang="ru-RU"/>
        </a:p>
      </dgm:t>
    </dgm:pt>
    <dgm:pt modelId="{AC6BDA3C-9E68-4A39-8603-648565DF74B8}" type="pres">
      <dgm:prSet presAssocID="{F7F9940F-E0EA-403C-BE4C-8288B97C3CFB}" presName="accentRepeatNode" presStyleLbl="solidFgAcc1" presStyleIdx="3" presStyleCnt="7"/>
      <dgm:spPr/>
      <dgm:t>
        <a:bodyPr/>
        <a:lstStyle/>
        <a:p>
          <a:endParaRPr lang="ru-RU"/>
        </a:p>
      </dgm:t>
    </dgm:pt>
    <dgm:pt modelId="{825A57D5-528D-473D-81CA-ECEFB16122D4}" type="pres">
      <dgm:prSet presAssocID="{2E6C6928-E2EF-48B9-9CF8-556E541D7222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FC9761F-466F-4100-8250-DAC97EC0E8BA}" type="pres">
      <dgm:prSet presAssocID="{2E6C6928-E2EF-48B9-9CF8-556E541D7222}" presName="accent_5" presStyleCnt="0"/>
      <dgm:spPr/>
    </dgm:pt>
    <dgm:pt modelId="{F7558642-4223-4246-995A-99D5EDE53ACC}" type="pres">
      <dgm:prSet presAssocID="{2E6C6928-E2EF-48B9-9CF8-556E541D7222}" presName="accentRepeatNode" presStyleLbl="solidFgAcc1" presStyleIdx="4" presStyleCnt="7"/>
      <dgm:spPr/>
    </dgm:pt>
    <dgm:pt modelId="{A3F4A7FF-13FA-4E02-904E-3878A6A38B97}" type="pres">
      <dgm:prSet presAssocID="{7FC593B3-A404-43D5-9543-348801E4AB48}" presName="text_6" presStyleLbl="node1" presStyleIdx="5" presStyleCnt="7" custScaleY="9406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4B8250D-3D96-43D5-A808-E20E055D8919}" type="pres">
      <dgm:prSet presAssocID="{7FC593B3-A404-43D5-9543-348801E4AB48}" presName="accent_6" presStyleCnt="0"/>
      <dgm:spPr/>
    </dgm:pt>
    <dgm:pt modelId="{2EF07631-7D69-4ECB-BFB3-63B703F263AC}" type="pres">
      <dgm:prSet presAssocID="{7FC593B3-A404-43D5-9543-348801E4AB48}" presName="accentRepeatNode" presStyleLbl="solidFgAcc1" presStyleIdx="5" presStyleCnt="7" custScaleX="101858" custScaleY="114679"/>
      <dgm:spPr/>
    </dgm:pt>
    <dgm:pt modelId="{563CC9A5-1A17-41C1-9014-F1BD397FE09D}" type="pres">
      <dgm:prSet presAssocID="{5EAB2D90-15CB-4776-BC45-41F4FD938E21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31D46A9-EFC3-43A5-891C-16DA30EB4D12}" type="pres">
      <dgm:prSet presAssocID="{5EAB2D90-15CB-4776-BC45-41F4FD938E21}" presName="accent_7" presStyleCnt="0"/>
      <dgm:spPr/>
    </dgm:pt>
    <dgm:pt modelId="{D38437C5-0A04-4CA5-B266-0BD93BBEFB7A}" type="pres">
      <dgm:prSet presAssocID="{5EAB2D90-15CB-4776-BC45-41F4FD938E21}" presName="accentRepeatNode" presStyleLbl="solidFgAcc1" presStyleIdx="6" presStyleCnt="7"/>
      <dgm:spPr/>
    </dgm:pt>
  </dgm:ptLst>
  <dgm:cxnLst>
    <dgm:cxn modelId="{4DAB300D-AF44-461E-BABC-60A3B5EFDF25}" type="presOf" srcId="{EFF45E2F-E173-4B13-BDC1-51D1D3E5DC45}" destId="{0AA096E4-F67A-4A8E-9BED-B2E00AEDF9A1}" srcOrd="0" destOrd="0" presId="urn:microsoft.com/office/officeart/2008/layout/VerticalCurvedList"/>
    <dgm:cxn modelId="{59CB0BEC-B7A8-4F39-B7AF-993B642319C3}" type="presOf" srcId="{5EAB2D90-15CB-4776-BC45-41F4FD938E21}" destId="{563CC9A5-1A17-41C1-9014-F1BD397FE09D}" srcOrd="0" destOrd="0" presId="urn:microsoft.com/office/officeart/2008/layout/VerticalCurvedList"/>
    <dgm:cxn modelId="{03239E60-DD12-40A1-BC10-6C2E47D12206}" type="presOf" srcId="{20BFB9EF-E207-42E4-A816-FC04F358A386}" destId="{6B8AE3F6-BF95-47D0-BC1B-E67083D7DF5A}" srcOrd="0" destOrd="0" presId="urn:microsoft.com/office/officeart/2008/layout/VerticalCurvedList"/>
    <dgm:cxn modelId="{946136F3-6924-4F0F-87E0-12975907F354}" srcId="{EFF45E2F-E173-4B13-BDC1-51D1D3E5DC45}" destId="{5EAB2D90-15CB-4776-BC45-41F4FD938E21}" srcOrd="6" destOrd="0" parTransId="{3F9414D5-3CEF-4A85-9A64-3357292F1026}" sibTransId="{9E2F5514-30F6-48E4-9A4A-8558B58AA8D9}"/>
    <dgm:cxn modelId="{E1A50DA6-9F1F-4C5E-B7C1-A7C59B2B1310}" type="presOf" srcId="{7FC593B3-A404-43D5-9543-348801E4AB48}" destId="{A3F4A7FF-13FA-4E02-904E-3878A6A38B97}" srcOrd="0" destOrd="0" presId="urn:microsoft.com/office/officeart/2008/layout/VerticalCurvedList"/>
    <dgm:cxn modelId="{0423CA0C-7DBE-4856-B2EF-56E7A0C5B3DD}" srcId="{EFF45E2F-E173-4B13-BDC1-51D1D3E5DC45}" destId="{F7F9940F-E0EA-403C-BE4C-8288B97C3CFB}" srcOrd="3" destOrd="0" parTransId="{3694A639-4BF1-4D2E-9F86-B3B1351D0582}" sibTransId="{5805D069-DF37-40E7-AC0C-171C334F1386}"/>
    <dgm:cxn modelId="{4A1254D8-57E8-4DAD-A692-FA610473DA70}" srcId="{EFF45E2F-E173-4B13-BDC1-51D1D3E5DC45}" destId="{3C71D1E6-E8A4-4B30-B704-5AEF43899C0D}" srcOrd="1" destOrd="0" parTransId="{5E47182B-2C61-440C-8165-A43CA87C237A}" sibTransId="{7AB57823-DA11-4E58-B505-6CB7AA8EDA3D}"/>
    <dgm:cxn modelId="{7F35664D-935C-49BA-B82F-DE340A34FE0D}" srcId="{EFF45E2F-E173-4B13-BDC1-51D1D3E5DC45}" destId="{2E6C6928-E2EF-48B9-9CF8-556E541D7222}" srcOrd="4" destOrd="0" parTransId="{55B7E796-8270-40FE-875A-05C5A700E51F}" sibTransId="{8C3ED80D-6C00-4228-8960-F7DF38EB4D81}"/>
    <dgm:cxn modelId="{08225F0F-D853-4021-98E8-56FEDB4B47B2}" type="presOf" srcId="{F7F9940F-E0EA-403C-BE4C-8288B97C3CFB}" destId="{B57F3D88-7CF9-4269-8D89-807D04C932AF}" srcOrd="0" destOrd="0" presId="urn:microsoft.com/office/officeart/2008/layout/VerticalCurvedList"/>
    <dgm:cxn modelId="{13DE7A52-26F6-467D-A2E0-3FBA141B5B41}" type="presOf" srcId="{3C71D1E6-E8A4-4B30-B704-5AEF43899C0D}" destId="{653A904B-2945-4DD7-8DE1-CB62F447A67F}" srcOrd="0" destOrd="0" presId="urn:microsoft.com/office/officeart/2008/layout/VerticalCurvedList"/>
    <dgm:cxn modelId="{10BAE0AA-C6DC-4040-8836-8D0BC4CBE8F3}" srcId="{EFF45E2F-E173-4B13-BDC1-51D1D3E5DC45}" destId="{20BFB9EF-E207-42E4-A816-FC04F358A386}" srcOrd="2" destOrd="0" parTransId="{E36964A8-C6E3-4DBE-9599-F9027BBA0A5D}" sibTransId="{EEA94701-4F61-4111-9829-15A1CC99D55E}"/>
    <dgm:cxn modelId="{5E7EA3A1-3BCC-466A-AA80-0B65D9EE4BDB}" srcId="{EFF45E2F-E173-4B13-BDC1-51D1D3E5DC45}" destId="{7FC593B3-A404-43D5-9543-348801E4AB48}" srcOrd="5" destOrd="0" parTransId="{23324F38-BBE7-4879-BF20-3B9AE760B67D}" sibTransId="{E4228344-A40A-4849-B26E-9DD1B3285CCC}"/>
    <dgm:cxn modelId="{988CE4DD-BD4B-443C-A866-084C6070E121}" type="presOf" srcId="{14E01004-8FD4-419D-BF5F-D75F00113448}" destId="{424ECC5A-B02F-4271-96E6-517A7CAA5468}" srcOrd="0" destOrd="0" presId="urn:microsoft.com/office/officeart/2008/layout/VerticalCurvedList"/>
    <dgm:cxn modelId="{449396D3-13CF-4787-8CBB-06C1C1876CAD}" type="presOf" srcId="{861CAE0E-704E-4F40-987C-AA74F3DDE97A}" destId="{20D82740-A365-4927-B17E-D91934F00D42}" srcOrd="0" destOrd="0" presId="urn:microsoft.com/office/officeart/2008/layout/VerticalCurvedList"/>
    <dgm:cxn modelId="{2DA27E13-AC7C-4AD2-AD71-2F998658ECD0}" srcId="{EFF45E2F-E173-4B13-BDC1-51D1D3E5DC45}" destId="{14E01004-8FD4-419D-BF5F-D75F00113448}" srcOrd="0" destOrd="0" parTransId="{4F422544-C990-4522-878D-9D3530386DF0}" sibTransId="{861CAE0E-704E-4F40-987C-AA74F3DDE97A}"/>
    <dgm:cxn modelId="{36247BD0-46F9-483C-B58D-75B6922E7815}" type="presOf" srcId="{2E6C6928-E2EF-48B9-9CF8-556E541D7222}" destId="{825A57D5-528D-473D-81CA-ECEFB16122D4}" srcOrd="0" destOrd="0" presId="urn:microsoft.com/office/officeart/2008/layout/VerticalCurvedList"/>
    <dgm:cxn modelId="{12B69DA9-F196-42E9-8CC4-3988DC49A7B9}" type="presParOf" srcId="{0AA096E4-F67A-4A8E-9BED-B2E00AEDF9A1}" destId="{0B3CF96D-7B88-4069-A151-107227835000}" srcOrd="0" destOrd="0" presId="urn:microsoft.com/office/officeart/2008/layout/VerticalCurvedList"/>
    <dgm:cxn modelId="{6D57ABE1-89D0-4705-8F39-458BBDA66D3B}" type="presParOf" srcId="{0B3CF96D-7B88-4069-A151-107227835000}" destId="{EEBD86A6-5020-4AEF-B8AA-1018DB65DC50}" srcOrd="0" destOrd="0" presId="urn:microsoft.com/office/officeart/2008/layout/VerticalCurvedList"/>
    <dgm:cxn modelId="{7E68142E-6F9B-417C-9F13-61B71B0AFB4E}" type="presParOf" srcId="{EEBD86A6-5020-4AEF-B8AA-1018DB65DC50}" destId="{DE485907-3F86-4532-BE33-ABB7F70AB796}" srcOrd="0" destOrd="0" presId="urn:microsoft.com/office/officeart/2008/layout/VerticalCurvedList"/>
    <dgm:cxn modelId="{7C5804B1-3A57-4F1F-BB0E-E2661663DCDD}" type="presParOf" srcId="{EEBD86A6-5020-4AEF-B8AA-1018DB65DC50}" destId="{20D82740-A365-4927-B17E-D91934F00D42}" srcOrd="1" destOrd="0" presId="urn:microsoft.com/office/officeart/2008/layout/VerticalCurvedList"/>
    <dgm:cxn modelId="{94AC07DB-DA62-4B22-A1A0-24EE693E6DE2}" type="presParOf" srcId="{EEBD86A6-5020-4AEF-B8AA-1018DB65DC50}" destId="{B69450E8-5173-414F-9D9C-70A981870F99}" srcOrd="2" destOrd="0" presId="urn:microsoft.com/office/officeart/2008/layout/VerticalCurvedList"/>
    <dgm:cxn modelId="{203FB1AB-EB0D-4D87-9965-3848ADB82E71}" type="presParOf" srcId="{EEBD86A6-5020-4AEF-B8AA-1018DB65DC50}" destId="{B58CAA23-C49E-490C-9DA9-DD9BEEB4386F}" srcOrd="3" destOrd="0" presId="urn:microsoft.com/office/officeart/2008/layout/VerticalCurvedList"/>
    <dgm:cxn modelId="{A628E361-956E-4C1A-8610-D97D459149BB}" type="presParOf" srcId="{0B3CF96D-7B88-4069-A151-107227835000}" destId="{424ECC5A-B02F-4271-96E6-517A7CAA5468}" srcOrd="1" destOrd="0" presId="urn:microsoft.com/office/officeart/2008/layout/VerticalCurvedList"/>
    <dgm:cxn modelId="{2DFF1D5C-40AF-4172-9E82-11EED4BC737C}" type="presParOf" srcId="{0B3CF96D-7B88-4069-A151-107227835000}" destId="{0806126F-C99D-4D62-A1FE-356FE7B1850B}" srcOrd="2" destOrd="0" presId="urn:microsoft.com/office/officeart/2008/layout/VerticalCurvedList"/>
    <dgm:cxn modelId="{A7985177-EDE8-470A-B99C-7A1724490643}" type="presParOf" srcId="{0806126F-C99D-4D62-A1FE-356FE7B1850B}" destId="{26ADCB6E-F609-4B1F-8187-1D8D85352EEC}" srcOrd="0" destOrd="0" presId="urn:microsoft.com/office/officeart/2008/layout/VerticalCurvedList"/>
    <dgm:cxn modelId="{01DD64F3-09F0-40B5-BFCD-7792BECCB96E}" type="presParOf" srcId="{0B3CF96D-7B88-4069-A151-107227835000}" destId="{653A904B-2945-4DD7-8DE1-CB62F447A67F}" srcOrd="3" destOrd="0" presId="urn:microsoft.com/office/officeart/2008/layout/VerticalCurvedList"/>
    <dgm:cxn modelId="{9C61CAA2-30ED-4CC7-9798-CC91C9166EA5}" type="presParOf" srcId="{0B3CF96D-7B88-4069-A151-107227835000}" destId="{31FB52A5-8F4E-46F4-B92A-6179787572C3}" srcOrd="4" destOrd="0" presId="urn:microsoft.com/office/officeart/2008/layout/VerticalCurvedList"/>
    <dgm:cxn modelId="{9DAF88EA-E6CB-43B4-843E-CBA230C757CC}" type="presParOf" srcId="{31FB52A5-8F4E-46F4-B92A-6179787572C3}" destId="{795E5A4E-731C-4F0A-BB61-44169590540D}" srcOrd="0" destOrd="0" presId="urn:microsoft.com/office/officeart/2008/layout/VerticalCurvedList"/>
    <dgm:cxn modelId="{85B83CA4-9BDD-4B37-B799-6612CBB641F8}" type="presParOf" srcId="{0B3CF96D-7B88-4069-A151-107227835000}" destId="{6B8AE3F6-BF95-47D0-BC1B-E67083D7DF5A}" srcOrd="5" destOrd="0" presId="urn:microsoft.com/office/officeart/2008/layout/VerticalCurvedList"/>
    <dgm:cxn modelId="{EFBFFB26-9158-4EE1-A1AB-F641E62C4469}" type="presParOf" srcId="{0B3CF96D-7B88-4069-A151-107227835000}" destId="{5C032050-402F-46D0-B0DD-DD4C8DFFE041}" srcOrd="6" destOrd="0" presId="urn:microsoft.com/office/officeart/2008/layout/VerticalCurvedList"/>
    <dgm:cxn modelId="{4E480680-B409-4F20-8780-3BC3A0776917}" type="presParOf" srcId="{5C032050-402F-46D0-B0DD-DD4C8DFFE041}" destId="{EB90A5C8-1B87-4CA5-9481-8B730946B8D7}" srcOrd="0" destOrd="0" presId="urn:microsoft.com/office/officeart/2008/layout/VerticalCurvedList"/>
    <dgm:cxn modelId="{F43CB003-A79C-482E-8109-CA1813833994}" type="presParOf" srcId="{0B3CF96D-7B88-4069-A151-107227835000}" destId="{B57F3D88-7CF9-4269-8D89-807D04C932AF}" srcOrd="7" destOrd="0" presId="urn:microsoft.com/office/officeart/2008/layout/VerticalCurvedList"/>
    <dgm:cxn modelId="{C38D6200-CF1C-4637-842E-267A077804CF}" type="presParOf" srcId="{0B3CF96D-7B88-4069-A151-107227835000}" destId="{3107A76D-29B9-479A-A2E1-00159F5646E8}" srcOrd="8" destOrd="0" presId="urn:microsoft.com/office/officeart/2008/layout/VerticalCurvedList"/>
    <dgm:cxn modelId="{E168AA74-B355-4F04-B2C6-1DCB78028E13}" type="presParOf" srcId="{3107A76D-29B9-479A-A2E1-00159F5646E8}" destId="{AC6BDA3C-9E68-4A39-8603-648565DF74B8}" srcOrd="0" destOrd="0" presId="urn:microsoft.com/office/officeart/2008/layout/VerticalCurvedList"/>
    <dgm:cxn modelId="{01E2F19F-CB28-47D2-8213-058D264377EA}" type="presParOf" srcId="{0B3CF96D-7B88-4069-A151-107227835000}" destId="{825A57D5-528D-473D-81CA-ECEFB16122D4}" srcOrd="9" destOrd="0" presId="urn:microsoft.com/office/officeart/2008/layout/VerticalCurvedList"/>
    <dgm:cxn modelId="{43603F64-C9A3-41F1-ADCE-FA6599AF5FBB}" type="presParOf" srcId="{0B3CF96D-7B88-4069-A151-107227835000}" destId="{DFC9761F-466F-4100-8250-DAC97EC0E8BA}" srcOrd="10" destOrd="0" presId="urn:microsoft.com/office/officeart/2008/layout/VerticalCurvedList"/>
    <dgm:cxn modelId="{56603498-A538-49A5-9B6D-BA3031BAC571}" type="presParOf" srcId="{DFC9761F-466F-4100-8250-DAC97EC0E8BA}" destId="{F7558642-4223-4246-995A-99D5EDE53ACC}" srcOrd="0" destOrd="0" presId="urn:microsoft.com/office/officeart/2008/layout/VerticalCurvedList"/>
    <dgm:cxn modelId="{21946460-CD10-4667-9149-118A9E22C5EF}" type="presParOf" srcId="{0B3CF96D-7B88-4069-A151-107227835000}" destId="{A3F4A7FF-13FA-4E02-904E-3878A6A38B97}" srcOrd="11" destOrd="0" presId="urn:microsoft.com/office/officeart/2008/layout/VerticalCurvedList"/>
    <dgm:cxn modelId="{DD3B4128-0AA0-41E6-A92B-C2A0F6B339BA}" type="presParOf" srcId="{0B3CF96D-7B88-4069-A151-107227835000}" destId="{44B8250D-3D96-43D5-A808-E20E055D8919}" srcOrd="12" destOrd="0" presId="urn:microsoft.com/office/officeart/2008/layout/VerticalCurvedList"/>
    <dgm:cxn modelId="{E989E720-8302-409C-9181-E87F4ADDA787}" type="presParOf" srcId="{44B8250D-3D96-43D5-A808-E20E055D8919}" destId="{2EF07631-7D69-4ECB-BFB3-63B703F263AC}" srcOrd="0" destOrd="0" presId="urn:microsoft.com/office/officeart/2008/layout/VerticalCurvedList"/>
    <dgm:cxn modelId="{F528F901-6A5D-4876-857E-2EFE02F20806}" type="presParOf" srcId="{0B3CF96D-7B88-4069-A151-107227835000}" destId="{563CC9A5-1A17-41C1-9014-F1BD397FE09D}" srcOrd="13" destOrd="0" presId="urn:microsoft.com/office/officeart/2008/layout/VerticalCurvedList"/>
    <dgm:cxn modelId="{3B52597E-1996-4F9C-953C-4BE64F72E140}" type="presParOf" srcId="{0B3CF96D-7B88-4069-A151-107227835000}" destId="{231D46A9-EFC3-43A5-891C-16DA30EB4D12}" srcOrd="14" destOrd="0" presId="urn:microsoft.com/office/officeart/2008/layout/VerticalCurvedList"/>
    <dgm:cxn modelId="{10528EAD-8200-416E-946D-7CBEB8B53FB9}" type="presParOf" srcId="{231D46A9-EFC3-43A5-891C-16DA30EB4D12}" destId="{D38437C5-0A04-4CA5-B266-0BD93BBEFB7A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26AF49-0F5A-47B0-AF72-215BC3878AFE}">
      <dsp:nvSpPr>
        <dsp:cNvPr id="0" name=""/>
        <dsp:cNvSpPr/>
      </dsp:nvSpPr>
      <dsp:spPr>
        <a:xfrm>
          <a:off x="0" y="141222"/>
          <a:ext cx="2351521" cy="2166262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260" tIns="48260" rIns="48260" bIns="48260" numCol="1" spcCol="1270" anchor="ctr" anchorCtr="0">
          <a:noAutofit/>
          <a:scene3d>
            <a:camera prst="orthographicFront"/>
            <a:lightRig rig="brightRoom" dir="t"/>
          </a:scene3d>
          <a:sp3d contourW="6350" prstMaterial="plastic">
            <a:bevelT w="20320" h="20320" prst="angle"/>
            <a:contourClr>
              <a:schemeClr val="accent1">
                <a:tint val="100000"/>
                <a:shade val="100000"/>
                <a:hueMod val="100000"/>
                <a:satMod val="100000"/>
              </a:schemeClr>
            </a:contourClr>
          </a:sp3d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900" b="1" kern="1200" cap="all" spc="0" dirty="0" smtClean="0">
              <a:ln/>
              <a:solidFill>
                <a:schemeClr val="bg1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  <a:latin typeface="Book Antiqua" panose="02040602050305030304" pitchFamily="18" charset="0"/>
            </a:rPr>
            <a:t>17 Соглашений</a:t>
          </a:r>
          <a:endParaRPr lang="ru-RU" sz="1900" b="1" kern="1200" cap="all" spc="0" dirty="0">
            <a:ln/>
            <a:solidFill>
              <a:schemeClr val="bg1"/>
            </a:solidFill>
            <a:effectLst>
              <a:outerShdw blurRad="19685" dist="12700" dir="5400000" algn="tl" rotWithShape="0">
                <a:schemeClr val="accent1">
                  <a:satMod val="130000"/>
                  <a:alpha val="60000"/>
                </a:schemeClr>
              </a:outerShdw>
              <a:reflection blurRad="10000" stA="55000" endPos="48000" dist="500" dir="5400000" sy="-100000" algn="bl" rotWithShape="0"/>
            </a:effectLst>
            <a:latin typeface="Book Antiqua" panose="02040602050305030304" pitchFamily="18" charset="0"/>
          </a:endParaRPr>
        </a:p>
      </dsp:txBody>
      <dsp:txXfrm>
        <a:off x="105748" y="246970"/>
        <a:ext cx="2140025" cy="1954766"/>
      </dsp:txXfrm>
    </dsp:sp>
    <dsp:sp modelId="{962666A7-13FE-4BA9-B1F1-B5FCCB1179DF}">
      <dsp:nvSpPr>
        <dsp:cNvPr id="0" name=""/>
        <dsp:cNvSpPr/>
      </dsp:nvSpPr>
      <dsp:spPr>
        <a:xfrm rot="1093893">
          <a:off x="2343682" y="1660495"/>
          <a:ext cx="312304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12304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EAF657-BE66-4935-94CE-122AAAC912B7}">
      <dsp:nvSpPr>
        <dsp:cNvPr id="0" name=""/>
        <dsp:cNvSpPr/>
      </dsp:nvSpPr>
      <dsp:spPr>
        <a:xfrm>
          <a:off x="2648148" y="1357412"/>
          <a:ext cx="2249834" cy="1444952"/>
        </a:xfrm>
        <a:prstGeom prst="roundRect">
          <a:avLst/>
        </a:prstGeom>
        <a:gradFill flip="none" rotWithShape="1">
          <a:gsLst>
            <a:gs pos="22000">
              <a:srgbClr val="0099CC"/>
            </a:gs>
            <a:gs pos="73000">
              <a:srgbClr val="0099CC"/>
            </a:gs>
          </a:gsLst>
          <a:path path="shape">
            <a:fillToRect l="50000" t="50000" r="50000" b="50000"/>
          </a:path>
          <a:tileRect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solidFill>
                <a:schemeClr val="bg1"/>
              </a:solidFill>
              <a:latin typeface="Book Antiqua" panose="02040602050305030304" pitchFamily="18" charset="0"/>
            </a:rPr>
            <a:t>О торговле услугами и инвестициях в государствах-членах ЕЭП (Приложение 5 «Фин. услуги»</a:t>
          </a:r>
          <a:r>
            <a:rPr lang="en-US" sz="1500" kern="1200" dirty="0" smtClean="0">
              <a:solidFill>
                <a:schemeClr val="bg1"/>
              </a:solidFill>
              <a:latin typeface="Book Antiqua" panose="02040602050305030304" pitchFamily="18" charset="0"/>
            </a:rPr>
            <a:t>)</a:t>
          </a:r>
          <a:endParaRPr lang="ru-RU" sz="1500" kern="1200" dirty="0">
            <a:solidFill>
              <a:schemeClr val="bg1"/>
            </a:solidFill>
            <a:latin typeface="Book Antiqua" panose="02040602050305030304" pitchFamily="18" charset="0"/>
          </a:endParaRPr>
        </a:p>
      </dsp:txBody>
      <dsp:txXfrm>
        <a:off x="2718685" y="1427949"/>
        <a:ext cx="2108760" cy="1303878"/>
      </dsp:txXfrm>
    </dsp:sp>
    <dsp:sp modelId="{337DDBD3-46F1-40F6-B74B-6AF277069E9B}">
      <dsp:nvSpPr>
        <dsp:cNvPr id="0" name=""/>
        <dsp:cNvSpPr/>
      </dsp:nvSpPr>
      <dsp:spPr>
        <a:xfrm rot="20901176">
          <a:off x="2345502" y="922986"/>
          <a:ext cx="584615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584615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6F407C-B877-4817-BF10-C7C524511672}">
      <dsp:nvSpPr>
        <dsp:cNvPr id="0" name=""/>
        <dsp:cNvSpPr/>
      </dsp:nvSpPr>
      <dsp:spPr>
        <a:xfrm>
          <a:off x="2924099" y="0"/>
          <a:ext cx="2190760" cy="1276374"/>
        </a:xfrm>
        <a:prstGeom prst="roundRect">
          <a:avLst/>
        </a:prstGeom>
        <a:gradFill rotWithShape="0">
          <a:gsLst>
            <a:gs pos="0">
              <a:srgbClr val="0099CC"/>
            </a:gs>
            <a:gs pos="58000">
              <a:srgbClr val="0099CC"/>
            </a:gs>
            <a:gs pos="100000">
              <a:srgbClr val="0099CC"/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chemeClr val="bg1"/>
              </a:solidFill>
              <a:latin typeface="Book Antiqua" panose="02040602050305030304" pitchFamily="18" charset="0"/>
            </a:rPr>
            <a:t>О создании условий на финансовых рынках для обеспечения свободного движения капитала</a:t>
          </a:r>
          <a:endParaRPr lang="ru-RU" sz="1300" kern="1200" dirty="0">
            <a:solidFill>
              <a:schemeClr val="bg1"/>
            </a:solidFill>
            <a:latin typeface="Book Antiqua" panose="02040602050305030304" pitchFamily="18" charset="0"/>
          </a:endParaRPr>
        </a:p>
      </dsp:txBody>
      <dsp:txXfrm>
        <a:off x="2986406" y="62307"/>
        <a:ext cx="2066146" cy="1151760"/>
      </dsp:txXfrm>
    </dsp:sp>
    <dsp:sp modelId="{4C8782BB-3650-4DEF-AF9C-0CD0634A0137}">
      <dsp:nvSpPr>
        <dsp:cNvPr id="0" name=""/>
        <dsp:cNvSpPr/>
      </dsp:nvSpPr>
      <dsp:spPr>
        <a:xfrm rot="3440066">
          <a:off x="1703045" y="2613213"/>
          <a:ext cx="72633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26338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2572ED6-151E-457C-9270-02C7D850999F}">
      <dsp:nvSpPr>
        <dsp:cNvPr id="0" name=""/>
        <dsp:cNvSpPr/>
      </dsp:nvSpPr>
      <dsp:spPr>
        <a:xfrm>
          <a:off x="1614508" y="2918942"/>
          <a:ext cx="2101688" cy="1257520"/>
        </a:xfrm>
        <a:prstGeom prst="roundRect">
          <a:avLst/>
        </a:prstGeom>
        <a:gradFill rotWithShape="0">
          <a:gsLst>
            <a:gs pos="77000">
              <a:srgbClr val="0099CC"/>
            </a:gs>
            <a:gs pos="0">
              <a:srgbClr val="0099CC"/>
            </a:gs>
            <a:gs pos="45000">
              <a:srgbClr val="0099CC"/>
            </a:gs>
            <a:gs pos="100000">
              <a:srgbClr val="0099CC"/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solidFill>
                <a:schemeClr val="bg1"/>
              </a:solidFill>
              <a:latin typeface="Book Antiqua" panose="02040602050305030304" pitchFamily="18" charset="0"/>
            </a:rPr>
            <a:t>О согласованных принципах валютной политики</a:t>
          </a:r>
          <a:endParaRPr lang="ru-RU" sz="1500" kern="1200" dirty="0">
            <a:solidFill>
              <a:schemeClr val="bg1"/>
            </a:solidFill>
            <a:latin typeface="Book Antiqua" panose="02040602050305030304" pitchFamily="18" charset="0"/>
          </a:endParaRPr>
        </a:p>
      </dsp:txBody>
      <dsp:txXfrm>
        <a:off x="1675895" y="2980329"/>
        <a:ext cx="1978914" cy="1134746"/>
      </dsp:txXfrm>
    </dsp:sp>
    <dsp:sp modelId="{F8F80D27-E3FB-4F6E-8674-742E5278B2BF}">
      <dsp:nvSpPr>
        <dsp:cNvPr id="0" name=""/>
        <dsp:cNvSpPr/>
      </dsp:nvSpPr>
      <dsp:spPr>
        <a:xfrm rot="5860098">
          <a:off x="655711" y="2634690"/>
          <a:ext cx="66031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660316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F61CB96-9897-401D-8D06-79B676B58ED7}">
      <dsp:nvSpPr>
        <dsp:cNvPr id="0" name=""/>
        <dsp:cNvSpPr/>
      </dsp:nvSpPr>
      <dsp:spPr>
        <a:xfrm>
          <a:off x="253239" y="2961896"/>
          <a:ext cx="1174837" cy="1502599"/>
        </a:xfrm>
        <a:prstGeom prst="roundRect">
          <a:avLst/>
        </a:prstGeom>
        <a:gradFill rotWithShape="0">
          <a:gsLst>
            <a:gs pos="0">
              <a:srgbClr val="0099CC"/>
            </a:gs>
            <a:gs pos="80000">
              <a:srgbClr val="0099CC"/>
            </a:gs>
            <a:gs pos="100000">
              <a:srgbClr val="0099CC"/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…</a:t>
          </a:r>
          <a:endParaRPr lang="ru-RU" sz="3600" kern="1200" dirty="0"/>
        </a:p>
      </dsp:txBody>
      <dsp:txXfrm>
        <a:off x="310590" y="3019247"/>
        <a:ext cx="1060135" cy="138789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D82740-A365-4927-B17E-D91934F00D42}">
      <dsp:nvSpPr>
        <dsp:cNvPr id="0" name=""/>
        <dsp:cNvSpPr/>
      </dsp:nvSpPr>
      <dsp:spPr>
        <a:xfrm>
          <a:off x="-4594335" y="-704407"/>
          <a:ext cx="5472816" cy="5472816"/>
        </a:xfrm>
        <a:prstGeom prst="blockArc">
          <a:avLst>
            <a:gd name="adj1" fmla="val 18900000"/>
            <a:gd name="adj2" fmla="val 2700000"/>
            <a:gd name="adj3" fmla="val 395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4ECC5A-B02F-4271-96E6-517A7CAA5468}">
      <dsp:nvSpPr>
        <dsp:cNvPr id="0" name=""/>
        <dsp:cNvSpPr/>
      </dsp:nvSpPr>
      <dsp:spPr>
        <a:xfrm>
          <a:off x="493175" y="290439"/>
          <a:ext cx="6703220" cy="625205"/>
        </a:xfrm>
        <a:prstGeom prst="rect">
          <a:avLst/>
        </a:prstGeom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625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Товаров</a:t>
          </a:r>
          <a:r>
            <a:rPr lang="en-US" sz="2400" kern="120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 </a:t>
          </a:r>
          <a:endParaRPr lang="ru-RU" sz="2400" kern="1200" dirty="0">
            <a:latin typeface="Book Antiqua" panose="02040602050305030304" pitchFamily="18" charset="0"/>
            <a:ea typeface="+mn-ea"/>
            <a:cs typeface="Times New Roman" panose="02020603050405020304" pitchFamily="18" charset="0"/>
          </a:endParaRPr>
        </a:p>
      </dsp:txBody>
      <dsp:txXfrm>
        <a:off x="493175" y="290439"/>
        <a:ext cx="6703220" cy="625205"/>
      </dsp:txXfrm>
    </dsp:sp>
    <dsp:sp modelId="{26ADCB6E-F609-4B1F-8187-1D8D85352EEC}">
      <dsp:nvSpPr>
        <dsp:cNvPr id="0" name=""/>
        <dsp:cNvSpPr/>
      </dsp:nvSpPr>
      <dsp:spPr>
        <a:xfrm>
          <a:off x="80933" y="233523"/>
          <a:ext cx="781507" cy="78150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3A904B-2945-4DD7-8DE1-CB62F447A67F}">
      <dsp:nvSpPr>
        <dsp:cNvPr id="0" name=""/>
        <dsp:cNvSpPr/>
      </dsp:nvSpPr>
      <dsp:spPr>
        <a:xfrm>
          <a:off x="864065" y="1260689"/>
          <a:ext cx="6344776" cy="625205"/>
        </a:xfrm>
        <a:prstGeom prst="rect">
          <a:avLst/>
        </a:prstGeom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625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Услуг</a:t>
          </a:r>
          <a:endParaRPr lang="ru-RU" sz="2400" kern="1200" dirty="0">
            <a:latin typeface="Book Antiqua" panose="02040602050305030304" pitchFamily="18" charset="0"/>
            <a:ea typeface="+mn-ea"/>
            <a:cs typeface="Times New Roman" panose="02020603050405020304" pitchFamily="18" charset="0"/>
          </a:endParaRPr>
        </a:p>
      </dsp:txBody>
      <dsp:txXfrm>
        <a:off x="864065" y="1260689"/>
        <a:ext cx="6344776" cy="625205"/>
      </dsp:txXfrm>
    </dsp:sp>
    <dsp:sp modelId="{795E5A4E-731C-4F0A-BB61-44169590540D}">
      <dsp:nvSpPr>
        <dsp:cNvPr id="0" name=""/>
        <dsp:cNvSpPr/>
      </dsp:nvSpPr>
      <dsp:spPr>
        <a:xfrm>
          <a:off x="427819" y="1172260"/>
          <a:ext cx="781507" cy="78150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B8AE3F6-BF95-47D0-BC1B-E67083D7DF5A}">
      <dsp:nvSpPr>
        <dsp:cNvPr id="0" name=""/>
        <dsp:cNvSpPr/>
      </dsp:nvSpPr>
      <dsp:spPr>
        <a:xfrm>
          <a:off x="818573" y="2188382"/>
          <a:ext cx="6344776" cy="625205"/>
        </a:xfrm>
        <a:prstGeom prst="rect">
          <a:avLst/>
        </a:prstGeom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625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strike="noStrike" kern="120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Капитала</a:t>
          </a:r>
          <a:endParaRPr lang="ru-RU" sz="2400" strike="noStrike" kern="1200" dirty="0">
            <a:latin typeface="Book Antiqua" panose="02040602050305030304" pitchFamily="18" charset="0"/>
            <a:ea typeface="+mn-ea"/>
            <a:cs typeface="Times New Roman" panose="02020603050405020304" pitchFamily="18" charset="0"/>
          </a:endParaRPr>
        </a:p>
      </dsp:txBody>
      <dsp:txXfrm>
        <a:off x="818573" y="2188382"/>
        <a:ext cx="6344776" cy="625205"/>
      </dsp:txXfrm>
    </dsp:sp>
    <dsp:sp modelId="{EB90A5C8-1B87-4CA5-9481-8B730946B8D7}">
      <dsp:nvSpPr>
        <dsp:cNvPr id="0" name=""/>
        <dsp:cNvSpPr/>
      </dsp:nvSpPr>
      <dsp:spPr>
        <a:xfrm>
          <a:off x="427819" y="2110232"/>
          <a:ext cx="781507" cy="78150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57F3D88-7CF9-4269-8D89-807D04C932AF}">
      <dsp:nvSpPr>
        <dsp:cNvPr id="0" name=""/>
        <dsp:cNvSpPr/>
      </dsp:nvSpPr>
      <dsp:spPr>
        <a:xfrm>
          <a:off x="460128" y="3126353"/>
          <a:ext cx="6703220" cy="625205"/>
        </a:xfrm>
        <a:prstGeom prst="rect">
          <a:avLst/>
        </a:prstGeom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6257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strike="noStrike" kern="120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Рабочей силы</a:t>
          </a:r>
          <a:endParaRPr lang="ru-RU" sz="2400" strike="noStrike" kern="1200" dirty="0">
            <a:latin typeface="Book Antiqua" panose="02040602050305030304" pitchFamily="18" charset="0"/>
            <a:ea typeface="+mn-ea"/>
            <a:cs typeface="Times New Roman" panose="02020603050405020304" pitchFamily="18" charset="0"/>
          </a:endParaRPr>
        </a:p>
      </dsp:txBody>
      <dsp:txXfrm>
        <a:off x="460128" y="3126353"/>
        <a:ext cx="6703220" cy="625205"/>
      </dsp:txXfrm>
    </dsp:sp>
    <dsp:sp modelId="{AC6BDA3C-9E68-4A39-8603-648565DF74B8}">
      <dsp:nvSpPr>
        <dsp:cNvPr id="0" name=""/>
        <dsp:cNvSpPr/>
      </dsp:nvSpPr>
      <dsp:spPr>
        <a:xfrm>
          <a:off x="69375" y="3048203"/>
          <a:ext cx="781507" cy="78150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92F7DE-73FF-431E-A248-7C7D048B3432}">
      <dsp:nvSpPr>
        <dsp:cNvPr id="0" name=""/>
        <dsp:cNvSpPr/>
      </dsp:nvSpPr>
      <dsp:spPr>
        <a:xfrm>
          <a:off x="2808411" y="1762012"/>
          <a:ext cx="2083505" cy="2017712"/>
        </a:xfrm>
        <a:prstGeom prst="ellipse">
          <a:avLst/>
        </a:prstGeom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</a:gra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 smtClean="0">
              <a:latin typeface="Book Antiqua" panose="02040602050305030304" pitchFamily="18" charset="0"/>
            </a:rPr>
            <a:t>ДОГОВОР О ЕАЭС: РАЗДЕЛ </a:t>
          </a:r>
          <a:r>
            <a:rPr lang="en-US" sz="2100" kern="1200" dirty="0" smtClean="0">
              <a:latin typeface="Book Antiqua" panose="02040602050305030304" pitchFamily="18" charset="0"/>
            </a:rPr>
            <a:t>XVI</a:t>
          </a:r>
          <a:endParaRPr lang="ru-RU" sz="2100" kern="1200" dirty="0">
            <a:latin typeface="Book Antiqua" panose="02040602050305030304" pitchFamily="18" charset="0"/>
          </a:endParaRPr>
        </a:p>
      </dsp:txBody>
      <dsp:txXfrm>
        <a:off x="3113533" y="2057499"/>
        <a:ext cx="1473261" cy="1426738"/>
      </dsp:txXfrm>
    </dsp:sp>
    <dsp:sp modelId="{8347B773-87D3-4D14-83EC-FE79A41C025D}">
      <dsp:nvSpPr>
        <dsp:cNvPr id="0" name=""/>
        <dsp:cNvSpPr/>
      </dsp:nvSpPr>
      <dsp:spPr>
        <a:xfrm rot="16672924">
          <a:off x="4009613" y="1337214"/>
          <a:ext cx="163609" cy="55882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700" kern="1200"/>
        </a:p>
      </dsp:txBody>
      <dsp:txXfrm>
        <a:off x="4030789" y="1473288"/>
        <a:ext cx="114526" cy="335294"/>
      </dsp:txXfrm>
    </dsp:sp>
    <dsp:sp modelId="{FA704D77-E79D-4D13-8D92-DCF265207CBF}">
      <dsp:nvSpPr>
        <dsp:cNvPr id="0" name=""/>
        <dsp:cNvSpPr/>
      </dsp:nvSpPr>
      <dsp:spPr>
        <a:xfrm>
          <a:off x="2909707" y="-89314"/>
          <a:ext cx="2457234" cy="1557473"/>
        </a:xfrm>
        <a:prstGeom prst="ellipse">
          <a:avLst/>
        </a:prstGeom>
        <a:solidFill>
          <a:srgbClr val="0099CC"/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обеспечение гарантированной и эффективной защиты прав и законных интересов потребителей</a:t>
          </a:r>
          <a:r>
            <a:rPr lang="ru-RU" sz="1100" b="1" i="1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 </a:t>
          </a:r>
          <a:r>
            <a:rPr lang="ru-RU" sz="1100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финансовых услуг </a:t>
          </a:r>
          <a:endParaRPr lang="ru-RU" sz="1100" kern="1200" dirty="0">
            <a:solidFill>
              <a:schemeClr val="tx1"/>
            </a:solidFill>
            <a:latin typeface="Book Antiqua" panose="02040602050305030304" pitchFamily="18" charset="0"/>
          </a:endParaRPr>
        </a:p>
      </dsp:txBody>
      <dsp:txXfrm>
        <a:off x="3269561" y="138773"/>
        <a:ext cx="1737526" cy="1101299"/>
      </dsp:txXfrm>
    </dsp:sp>
    <dsp:sp modelId="{FE8A0DA5-1E05-4D2E-B8E3-17F587A096C6}">
      <dsp:nvSpPr>
        <dsp:cNvPr id="0" name=""/>
        <dsp:cNvSpPr/>
      </dsp:nvSpPr>
      <dsp:spPr>
        <a:xfrm rot="19746016">
          <a:off x="4804359" y="1849032"/>
          <a:ext cx="238460" cy="55882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700" kern="1200"/>
        </a:p>
      </dsp:txBody>
      <dsp:txXfrm>
        <a:off x="4809436" y="1979165"/>
        <a:ext cx="166922" cy="335294"/>
      </dsp:txXfrm>
    </dsp:sp>
    <dsp:sp modelId="{75220C0D-BA3C-4E78-B3EA-CC9BE0A8833C}">
      <dsp:nvSpPr>
        <dsp:cNvPr id="0" name=""/>
        <dsp:cNvSpPr/>
      </dsp:nvSpPr>
      <dsp:spPr>
        <a:xfrm>
          <a:off x="4903596" y="871331"/>
          <a:ext cx="1916307" cy="1391281"/>
        </a:xfrm>
        <a:prstGeom prst="ellipse">
          <a:avLst/>
        </a:prstGeom>
        <a:solidFill>
          <a:srgbClr val="0099CC"/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создание условий для взаимного признания лицензий и разрешений</a:t>
          </a:r>
          <a:endParaRPr lang="ru-RU" sz="1100" kern="1200" dirty="0">
            <a:solidFill>
              <a:schemeClr val="tx1"/>
            </a:solidFill>
            <a:latin typeface="Book Antiqua" panose="02040602050305030304" pitchFamily="18" charset="0"/>
          </a:endParaRPr>
        </a:p>
      </dsp:txBody>
      <dsp:txXfrm>
        <a:off x="5184233" y="1075079"/>
        <a:ext cx="1355033" cy="983785"/>
      </dsp:txXfrm>
    </dsp:sp>
    <dsp:sp modelId="{644B595B-69BF-4FC0-B29F-5CCB6FFEAADD}">
      <dsp:nvSpPr>
        <dsp:cNvPr id="0" name=""/>
        <dsp:cNvSpPr/>
      </dsp:nvSpPr>
      <dsp:spPr>
        <a:xfrm rot="558502">
          <a:off x="5000589" y="2705086"/>
          <a:ext cx="305871" cy="55882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700" kern="1200"/>
        </a:p>
      </dsp:txBody>
      <dsp:txXfrm>
        <a:off x="5001193" y="2809429"/>
        <a:ext cx="214110" cy="335294"/>
      </dsp:txXfrm>
    </dsp:sp>
    <dsp:sp modelId="{6E0FCB20-4EEB-40D8-8906-E5B16181C30C}">
      <dsp:nvSpPr>
        <dsp:cNvPr id="0" name=""/>
        <dsp:cNvSpPr/>
      </dsp:nvSpPr>
      <dsp:spPr>
        <a:xfrm>
          <a:off x="5433903" y="2045705"/>
          <a:ext cx="2198944" cy="2329916"/>
        </a:xfrm>
        <a:prstGeom prst="ellipse">
          <a:avLst/>
        </a:prstGeom>
        <a:solidFill>
          <a:srgbClr val="0099CC"/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определение требований и условий, предъявляемых к банковской,  страховой, </a:t>
          </a:r>
          <a:r>
            <a:rPr lang="ru-RU" sz="1100" kern="1200" dirty="0" err="1" smtClean="0">
              <a:solidFill>
                <a:schemeClr val="tx1"/>
              </a:solidFill>
              <a:latin typeface="Book Antiqua" panose="02040602050305030304" pitchFamily="18" charset="0"/>
            </a:rPr>
            <a:t>рцб</a:t>
          </a:r>
          <a:r>
            <a:rPr lang="ru-RU" sz="1100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 деятельности (пруденциальных требований)</a:t>
          </a:r>
          <a:endParaRPr lang="ru-RU" sz="1100" kern="1200" dirty="0">
            <a:solidFill>
              <a:schemeClr val="tx1"/>
            </a:solidFill>
            <a:latin typeface="Book Antiqua" panose="02040602050305030304" pitchFamily="18" charset="0"/>
          </a:endParaRPr>
        </a:p>
      </dsp:txBody>
      <dsp:txXfrm>
        <a:off x="5755931" y="2386913"/>
        <a:ext cx="1554888" cy="1647500"/>
      </dsp:txXfrm>
    </dsp:sp>
    <dsp:sp modelId="{D331D4E2-7835-4B7E-AC77-8B4B41CF345A}">
      <dsp:nvSpPr>
        <dsp:cNvPr id="0" name=""/>
        <dsp:cNvSpPr/>
      </dsp:nvSpPr>
      <dsp:spPr>
        <a:xfrm rot="3332764">
          <a:off x="4430822" y="3508169"/>
          <a:ext cx="233812" cy="55882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700" kern="1200"/>
        </a:p>
      </dsp:txBody>
      <dsp:txXfrm>
        <a:off x="4446052" y="3591013"/>
        <a:ext cx="163668" cy="335294"/>
      </dsp:txXfrm>
    </dsp:sp>
    <dsp:sp modelId="{7D82F050-1B2C-4B59-BC99-E951E4B921C5}">
      <dsp:nvSpPr>
        <dsp:cNvPr id="0" name=""/>
        <dsp:cNvSpPr/>
      </dsp:nvSpPr>
      <dsp:spPr>
        <a:xfrm>
          <a:off x="3946149" y="3889228"/>
          <a:ext cx="2557911" cy="1771282"/>
        </a:xfrm>
        <a:prstGeom prst="ellipse">
          <a:avLst/>
        </a:prstGeom>
        <a:solidFill>
          <a:srgbClr val="0099CC"/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обеспечение транспарентности деятельности участников финансового рынка</a:t>
          </a:r>
          <a:endParaRPr lang="ru-RU" sz="600" kern="1200" dirty="0">
            <a:solidFill>
              <a:schemeClr val="tx1"/>
            </a:solidFill>
          </a:endParaRPr>
        </a:p>
      </dsp:txBody>
      <dsp:txXfrm>
        <a:off x="4320746" y="4148626"/>
        <a:ext cx="1808717" cy="1252486"/>
      </dsp:txXfrm>
    </dsp:sp>
    <dsp:sp modelId="{54D9B525-DC72-4438-A740-7A21EE582E3B}">
      <dsp:nvSpPr>
        <dsp:cNvPr id="0" name=""/>
        <dsp:cNvSpPr/>
      </dsp:nvSpPr>
      <dsp:spPr>
        <a:xfrm rot="7318793">
          <a:off x="3114146" y="3510049"/>
          <a:ext cx="200056" cy="55882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700" kern="1200"/>
        </a:p>
      </dsp:txBody>
      <dsp:txXfrm rot="10800000">
        <a:off x="3160048" y="3596359"/>
        <a:ext cx="140039" cy="335294"/>
      </dsp:txXfrm>
    </dsp:sp>
    <dsp:sp modelId="{E7B81B6D-ACDC-4C6E-82AA-F94383AF9CC8}">
      <dsp:nvSpPr>
        <dsp:cNvPr id="0" name=""/>
        <dsp:cNvSpPr/>
      </dsp:nvSpPr>
      <dsp:spPr>
        <a:xfrm>
          <a:off x="1281850" y="3893343"/>
          <a:ext cx="2668351" cy="1708208"/>
        </a:xfrm>
        <a:prstGeom prst="ellipse">
          <a:avLst/>
        </a:prstGeom>
        <a:solidFill>
          <a:srgbClr val="0099CC"/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определение порядка осуществления надзора за деятельностью участников финансового рынка</a:t>
          </a:r>
          <a:endParaRPr lang="ru-RU" sz="1100" kern="1200" dirty="0">
            <a:solidFill>
              <a:schemeClr val="tx1"/>
            </a:solidFill>
            <a:latin typeface="Book Antiqua" panose="02040602050305030304" pitchFamily="18" charset="0"/>
          </a:endParaRPr>
        </a:p>
      </dsp:txBody>
      <dsp:txXfrm>
        <a:off x="1672621" y="4143504"/>
        <a:ext cx="1886809" cy="1207886"/>
      </dsp:txXfrm>
    </dsp:sp>
    <dsp:sp modelId="{DCAE4B27-8F1B-4075-A0CE-AF4D2511FFB1}">
      <dsp:nvSpPr>
        <dsp:cNvPr id="0" name=""/>
        <dsp:cNvSpPr/>
      </dsp:nvSpPr>
      <dsp:spPr>
        <a:xfrm rot="10275479">
          <a:off x="2580819" y="2673482"/>
          <a:ext cx="171226" cy="55882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700" kern="1200"/>
        </a:p>
      </dsp:txBody>
      <dsp:txXfrm rot="10800000">
        <a:off x="2631889" y="2781342"/>
        <a:ext cx="119858" cy="335294"/>
      </dsp:txXfrm>
    </dsp:sp>
    <dsp:sp modelId="{6CEA1BB9-EE9D-494B-87E1-3B9FE9D9563F}">
      <dsp:nvSpPr>
        <dsp:cNvPr id="0" name=""/>
        <dsp:cNvSpPr/>
      </dsp:nvSpPr>
      <dsp:spPr>
        <a:xfrm>
          <a:off x="8" y="2331673"/>
          <a:ext cx="2535057" cy="1672662"/>
        </a:xfrm>
        <a:prstGeom prst="ellipse">
          <a:avLst/>
        </a:prstGeom>
        <a:solidFill>
          <a:srgbClr val="0099CC"/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определение подходов к регулированию рисков на финансовых рынках государств-членов в соответствии с международными стандартами</a:t>
          </a:r>
          <a:endParaRPr lang="ru-RU" sz="1100" kern="1200" dirty="0">
            <a:solidFill>
              <a:schemeClr val="tx1"/>
            </a:solidFill>
            <a:latin typeface="Book Antiqua" panose="02040602050305030304" pitchFamily="18" charset="0"/>
          </a:endParaRPr>
        </a:p>
      </dsp:txBody>
      <dsp:txXfrm>
        <a:off x="371259" y="2576629"/>
        <a:ext cx="1792555" cy="1182750"/>
      </dsp:txXfrm>
    </dsp:sp>
    <dsp:sp modelId="{0976C174-FE16-45BA-9334-82CB8FFB7318}">
      <dsp:nvSpPr>
        <dsp:cNvPr id="0" name=""/>
        <dsp:cNvSpPr/>
      </dsp:nvSpPr>
      <dsp:spPr>
        <a:xfrm rot="12960270">
          <a:off x="2743438" y="1767350"/>
          <a:ext cx="220487" cy="55882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700" kern="1200"/>
        </a:p>
      </dsp:txBody>
      <dsp:txXfrm rot="10800000">
        <a:off x="2803266" y="1898556"/>
        <a:ext cx="154341" cy="335294"/>
      </dsp:txXfrm>
    </dsp:sp>
    <dsp:sp modelId="{4BBC2333-E37F-4D57-9A7E-3627C386AA86}">
      <dsp:nvSpPr>
        <dsp:cNvPr id="0" name=""/>
        <dsp:cNvSpPr/>
      </dsp:nvSpPr>
      <dsp:spPr>
        <a:xfrm>
          <a:off x="0" y="187905"/>
          <a:ext cx="3280770" cy="1954397"/>
        </a:xfrm>
        <a:prstGeom prst="ellipse">
          <a:avLst/>
        </a:prstGeom>
        <a:solidFill>
          <a:srgbClr val="0099CC"/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углубление экономической интеграции государств-членов с целью создания общего</a:t>
          </a:r>
          <a:r>
            <a:rPr lang="ru-RU" sz="1100" b="1" i="1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 </a:t>
          </a:r>
          <a:r>
            <a:rPr lang="ru-RU" sz="1100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финансового рынка и обеспечения недискриминационного доступа на ФР государств-членов</a:t>
          </a:r>
        </a:p>
      </dsp:txBody>
      <dsp:txXfrm>
        <a:off x="480458" y="474120"/>
        <a:ext cx="2319854" cy="138196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D82740-A365-4927-B17E-D91934F00D42}">
      <dsp:nvSpPr>
        <dsp:cNvPr id="0" name=""/>
        <dsp:cNvSpPr/>
      </dsp:nvSpPr>
      <dsp:spPr>
        <a:xfrm>
          <a:off x="-5044047" y="-778596"/>
          <a:ext cx="6052522" cy="6052522"/>
        </a:xfrm>
        <a:prstGeom prst="blockArc">
          <a:avLst>
            <a:gd name="adj1" fmla="val 18900000"/>
            <a:gd name="adj2" fmla="val 2700000"/>
            <a:gd name="adj3" fmla="val 357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4ECC5A-B02F-4271-96E6-517A7CAA5468}">
      <dsp:nvSpPr>
        <dsp:cNvPr id="0" name=""/>
        <dsp:cNvSpPr/>
      </dsp:nvSpPr>
      <dsp:spPr>
        <a:xfrm>
          <a:off x="792094" y="597010"/>
          <a:ext cx="7664241" cy="1284225"/>
        </a:xfrm>
        <a:prstGeom prst="rect">
          <a:avLst/>
        </a:prstGeom>
        <a:gradFill rotWithShape="0">
          <a:gsLst>
            <a:gs pos="88759">
              <a:srgbClr val="0099CC"/>
            </a:gs>
            <a:gs pos="34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016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9354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Book Antiqua" panose="02040602050305030304" pitchFamily="18" charset="0"/>
            </a:rPr>
            <a:t>Государства-члены к 2025 году осуществят гармонизацию своего законодательства в сфере финансового рынка в соответствии с международным договором в рамках Союза и Протоколом по финансовым услугам (приложение</a:t>
          </a:r>
          <a:r>
            <a:rPr lang="en-US" sz="1600" kern="1200" dirty="0" smtClean="0">
              <a:latin typeface="Book Antiqua" panose="02040602050305030304" pitchFamily="18" charset="0"/>
            </a:rPr>
            <a:t> </a:t>
          </a:r>
          <a:r>
            <a:rPr lang="ru-RU" sz="1600" kern="1200" dirty="0" smtClean="0">
              <a:latin typeface="Book Antiqua" panose="02040602050305030304" pitchFamily="18" charset="0"/>
            </a:rPr>
            <a:t>№</a:t>
          </a:r>
          <a:r>
            <a:rPr lang="en-US" sz="1600" kern="1200" dirty="0" smtClean="0">
              <a:latin typeface="Book Antiqua" panose="02040602050305030304" pitchFamily="18" charset="0"/>
            </a:rPr>
            <a:t> </a:t>
          </a:r>
          <a:r>
            <a:rPr lang="ru-RU" sz="1600" kern="1200" dirty="0" smtClean="0">
              <a:latin typeface="Book Antiqua" panose="02040602050305030304" pitchFamily="18" charset="0"/>
            </a:rPr>
            <a:t>17 к Договору)</a:t>
          </a:r>
          <a:endParaRPr lang="ru-RU" sz="1600" kern="1200" dirty="0">
            <a:solidFill>
              <a:prstClr val="white"/>
            </a:solidFill>
            <a:latin typeface="Book Antiqua" panose="02040602050305030304" pitchFamily="18" charset="0"/>
            <a:ea typeface="+mn-ea"/>
            <a:cs typeface="Times New Roman" panose="02020603050405020304" pitchFamily="18" charset="0"/>
          </a:endParaRPr>
        </a:p>
      </dsp:txBody>
      <dsp:txXfrm>
        <a:off x="792094" y="597010"/>
        <a:ext cx="7664241" cy="1284225"/>
      </dsp:txXfrm>
    </dsp:sp>
    <dsp:sp modelId="{26ADCB6E-F609-4B1F-8187-1D8D85352EEC}">
      <dsp:nvSpPr>
        <dsp:cNvPr id="0" name=""/>
        <dsp:cNvSpPr/>
      </dsp:nvSpPr>
      <dsp:spPr>
        <a:xfrm>
          <a:off x="47454" y="480101"/>
          <a:ext cx="1605281" cy="160528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3A904B-2945-4DD7-8DE1-CB62F447A67F}">
      <dsp:nvSpPr>
        <dsp:cNvPr id="0" name=""/>
        <dsp:cNvSpPr/>
      </dsp:nvSpPr>
      <dsp:spPr>
        <a:xfrm>
          <a:off x="826353" y="2568900"/>
          <a:ext cx="7664241" cy="1284225"/>
        </a:xfrm>
        <a:prstGeom prst="rect">
          <a:avLst/>
        </a:prstGeom>
        <a:gradFill rotWithShape="0">
          <a:gsLst>
            <a:gs pos="79596">
              <a:srgbClr val="0099CC"/>
            </a:gs>
            <a:gs pos="49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8255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9354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Book Antiqua" panose="02040602050305030304" pitchFamily="18" charset="0"/>
            </a:rPr>
            <a:t>Государства-члены после завершения гармонизации законодательства в сфере финансовых рынков примут решение о полномочиях и функциях наднационального органа по регулированию финансового рынка и создадут его с месторасположением в городе Алматы в 2025 году </a:t>
          </a:r>
          <a:endParaRPr lang="ru-RU" sz="1600" kern="1200" dirty="0">
            <a:solidFill>
              <a:prstClr val="white"/>
            </a:solidFill>
            <a:latin typeface="Book Antiqua" panose="02040602050305030304" pitchFamily="18" charset="0"/>
            <a:ea typeface="+mn-ea"/>
            <a:cs typeface="Times New Roman" panose="02020603050405020304" pitchFamily="18" charset="0"/>
          </a:endParaRPr>
        </a:p>
      </dsp:txBody>
      <dsp:txXfrm>
        <a:off x="826353" y="2568900"/>
        <a:ext cx="7664241" cy="1284225"/>
      </dsp:txXfrm>
    </dsp:sp>
    <dsp:sp modelId="{795E5A4E-731C-4F0A-BB61-44169590540D}">
      <dsp:nvSpPr>
        <dsp:cNvPr id="0" name=""/>
        <dsp:cNvSpPr/>
      </dsp:nvSpPr>
      <dsp:spPr>
        <a:xfrm>
          <a:off x="23712" y="2408372"/>
          <a:ext cx="1605281" cy="160528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731B19-735E-4F62-843B-F0D17A027D0D}">
      <dsp:nvSpPr>
        <dsp:cNvPr id="0" name=""/>
        <dsp:cNvSpPr/>
      </dsp:nvSpPr>
      <dsp:spPr>
        <a:xfrm>
          <a:off x="1529" y="269483"/>
          <a:ext cx="1757867" cy="878933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0099CC"/>
            </a:gs>
            <a:gs pos="83000">
              <a:srgbClr val="003399"/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solidFill>
                <a:schemeClr val="bg1"/>
              </a:solidFill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Общий финансовый рынок – финансовый рынок государств-членов, соответствующий следующим критериям:</a:t>
          </a:r>
          <a:endParaRPr lang="ru-RU" sz="1000" kern="1200" dirty="0">
            <a:solidFill>
              <a:schemeClr val="bg1"/>
            </a:solidFill>
          </a:endParaRPr>
        </a:p>
      </dsp:txBody>
      <dsp:txXfrm>
        <a:off x="27272" y="295226"/>
        <a:ext cx="1706381" cy="827447"/>
      </dsp:txXfrm>
    </dsp:sp>
    <dsp:sp modelId="{2AD8FDCA-9139-46C5-B260-2139547B530A}">
      <dsp:nvSpPr>
        <dsp:cNvPr id="0" name=""/>
        <dsp:cNvSpPr/>
      </dsp:nvSpPr>
      <dsp:spPr>
        <a:xfrm>
          <a:off x="177316" y="1148417"/>
          <a:ext cx="175786" cy="65920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59200"/>
              </a:lnTo>
              <a:lnTo>
                <a:pt x="175786" y="65920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07B030-0C77-4A2E-9D1A-B030865192E4}">
      <dsp:nvSpPr>
        <dsp:cNvPr id="0" name=""/>
        <dsp:cNvSpPr/>
      </dsp:nvSpPr>
      <dsp:spPr>
        <a:xfrm>
          <a:off x="353102" y="1368150"/>
          <a:ext cx="1406293" cy="87893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Book Antiqua" panose="02040602050305030304" pitchFamily="18" charset="0"/>
            </a:rPr>
            <a:t>Гармонизированные требования к регулированию и надзору в сфере финансовых рынков государств-членов</a:t>
          </a:r>
          <a:endParaRPr lang="ru-RU" sz="900" kern="1200" dirty="0">
            <a:latin typeface="Book Antiqua" panose="02040602050305030304" pitchFamily="18" charset="0"/>
          </a:endParaRPr>
        </a:p>
      </dsp:txBody>
      <dsp:txXfrm>
        <a:off x="378845" y="1393893"/>
        <a:ext cx="1354807" cy="827447"/>
      </dsp:txXfrm>
    </dsp:sp>
    <dsp:sp modelId="{E5987CF9-9614-4DE6-A9C3-95AD74CBA8BE}">
      <dsp:nvSpPr>
        <dsp:cNvPr id="0" name=""/>
        <dsp:cNvSpPr/>
      </dsp:nvSpPr>
      <dsp:spPr>
        <a:xfrm>
          <a:off x="177316" y="1148417"/>
          <a:ext cx="175786" cy="175786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7867"/>
              </a:lnTo>
              <a:lnTo>
                <a:pt x="175786" y="175786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55941BE-056A-48C4-84BB-0F6E6EBD534A}">
      <dsp:nvSpPr>
        <dsp:cNvPr id="0" name=""/>
        <dsp:cNvSpPr/>
      </dsp:nvSpPr>
      <dsp:spPr>
        <a:xfrm>
          <a:off x="353102" y="2466817"/>
          <a:ext cx="1406293" cy="87893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Book Antiqua" panose="02040602050305030304" pitchFamily="18" charset="0"/>
            </a:rPr>
            <a:t>Взаимное признание лицензий в банковском и страховом секторах, а также в секторе услуг на РЦБ</a:t>
          </a:r>
          <a:endParaRPr lang="ru-RU" sz="900" kern="1200" dirty="0">
            <a:latin typeface="Book Antiqua" panose="02040602050305030304" pitchFamily="18" charset="0"/>
          </a:endParaRPr>
        </a:p>
      </dsp:txBody>
      <dsp:txXfrm>
        <a:off x="378845" y="2492560"/>
        <a:ext cx="1354807" cy="827447"/>
      </dsp:txXfrm>
    </dsp:sp>
    <dsp:sp modelId="{3D1CDDDC-0D9F-432D-88AE-9BAF12D18D80}">
      <dsp:nvSpPr>
        <dsp:cNvPr id="0" name=""/>
        <dsp:cNvSpPr/>
      </dsp:nvSpPr>
      <dsp:spPr>
        <a:xfrm>
          <a:off x="177316" y="1148417"/>
          <a:ext cx="175786" cy="28775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77549"/>
              </a:lnTo>
              <a:lnTo>
                <a:pt x="175786" y="287754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003EAB-EF8B-4BA0-9F60-F675E12951C7}">
      <dsp:nvSpPr>
        <dsp:cNvPr id="0" name=""/>
        <dsp:cNvSpPr/>
      </dsp:nvSpPr>
      <dsp:spPr>
        <a:xfrm>
          <a:off x="353102" y="3565484"/>
          <a:ext cx="1631919" cy="9209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Book Antiqua" panose="02040602050305030304" pitchFamily="18" charset="0"/>
            </a:rPr>
            <a:t>Осуществление деятельности по предоставлению фин. услуг на всей территории Союза без доп. учреждения в качестве Ю</a:t>
          </a:r>
          <a:r>
            <a:rPr lang="ru-RU" sz="900" kern="1200" dirty="0" smtClean="0"/>
            <a:t>Л </a:t>
          </a:r>
          <a:endParaRPr lang="ru-RU" sz="900" kern="1200" dirty="0"/>
        </a:p>
      </dsp:txBody>
      <dsp:txXfrm>
        <a:off x="380076" y="3592458"/>
        <a:ext cx="1577971" cy="867016"/>
      </dsp:txXfrm>
    </dsp:sp>
    <dsp:sp modelId="{5C893ACC-8966-4E3B-A95B-301E336D9187}">
      <dsp:nvSpPr>
        <dsp:cNvPr id="0" name=""/>
        <dsp:cNvSpPr/>
      </dsp:nvSpPr>
      <dsp:spPr>
        <a:xfrm>
          <a:off x="177316" y="1148417"/>
          <a:ext cx="175786" cy="39972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997231"/>
              </a:lnTo>
              <a:lnTo>
                <a:pt x="175786" y="399723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46E264-AC92-412F-82E5-4B81AAB854FC}">
      <dsp:nvSpPr>
        <dsp:cNvPr id="0" name=""/>
        <dsp:cNvSpPr/>
      </dsp:nvSpPr>
      <dsp:spPr>
        <a:xfrm>
          <a:off x="353102" y="4706182"/>
          <a:ext cx="1406293" cy="87893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Book Antiqua" panose="02040602050305030304" pitchFamily="18" charset="0"/>
            </a:rPr>
            <a:t>Административное сотрудничество между уполномоченными органами государств-членов, в </a:t>
          </a:r>
          <a:r>
            <a:rPr lang="ru-RU" sz="900" kern="1200" dirty="0" err="1" smtClean="0">
              <a:latin typeface="Book Antiqua" panose="02040602050305030304" pitchFamily="18" charset="0"/>
            </a:rPr>
            <a:t>т.ч</a:t>
          </a:r>
          <a:r>
            <a:rPr lang="ru-RU" sz="900" kern="1200" dirty="0" smtClean="0">
              <a:latin typeface="Book Antiqua" panose="02040602050305030304" pitchFamily="18" charset="0"/>
            </a:rPr>
            <a:t>. путем обмена информацией</a:t>
          </a:r>
          <a:endParaRPr lang="ru-RU" sz="900" kern="1200" dirty="0">
            <a:latin typeface="Book Antiqua" panose="02040602050305030304" pitchFamily="18" charset="0"/>
          </a:endParaRPr>
        </a:p>
      </dsp:txBody>
      <dsp:txXfrm>
        <a:off x="378845" y="4731925"/>
        <a:ext cx="1354807" cy="827447"/>
      </dsp:txXfrm>
    </dsp:sp>
    <dsp:sp modelId="{723F05F4-DFF5-4A81-86E7-1FA30D17A3F7}">
      <dsp:nvSpPr>
        <dsp:cNvPr id="0" name=""/>
        <dsp:cNvSpPr/>
      </dsp:nvSpPr>
      <dsp:spPr>
        <a:xfrm>
          <a:off x="2198863" y="269483"/>
          <a:ext cx="1757867" cy="878933"/>
        </a:xfrm>
        <a:prstGeom prst="roundRect">
          <a:avLst>
            <a:gd name="adj" fmla="val 10000"/>
          </a:avLst>
        </a:prstGeom>
        <a:gradFill flip="none" rotWithShape="1">
          <a:gsLst>
            <a:gs pos="28000">
              <a:srgbClr val="0099CC"/>
            </a:gs>
            <a:gs pos="87000">
              <a:srgbClr val="003399"/>
            </a:gs>
          </a:gsLst>
          <a:lin ang="2700000" scaled="1"/>
          <a:tileRect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 extrusionH="44450">
          <a:bevelT w="146050" h="63500"/>
          <a:bevelB w="381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solidFill>
                <a:schemeClr val="bg1"/>
              </a:solidFill>
              <a:latin typeface="Book Antiqua" panose="02040602050305030304" pitchFamily="18" charset="0"/>
            </a:rPr>
            <a:t>3 формы поставки</a:t>
          </a:r>
          <a:r>
            <a:rPr lang="en-US" sz="1000" kern="1200" dirty="0" smtClean="0">
              <a:solidFill>
                <a:schemeClr val="bg1"/>
              </a:solidFill>
              <a:latin typeface="Book Antiqua" panose="02040602050305030304" pitchFamily="18" charset="0"/>
            </a:rPr>
            <a:t>/</a:t>
          </a:r>
          <a:r>
            <a:rPr lang="ru-RU" sz="1000" kern="1200" dirty="0" smtClean="0">
              <a:solidFill>
                <a:schemeClr val="bg1"/>
              </a:solidFill>
              <a:latin typeface="Book Antiqua" panose="02040602050305030304" pitchFamily="18" charset="0"/>
            </a:rPr>
            <a:t>торговли финансовыми услугами:</a:t>
          </a:r>
          <a:endParaRPr lang="ru-RU" sz="1000" kern="1200" dirty="0">
            <a:solidFill>
              <a:schemeClr val="bg1"/>
            </a:solidFill>
            <a:latin typeface="Book Antiqua" panose="02040602050305030304" pitchFamily="18" charset="0"/>
          </a:endParaRPr>
        </a:p>
      </dsp:txBody>
      <dsp:txXfrm>
        <a:off x="2224606" y="295226"/>
        <a:ext cx="1706381" cy="827447"/>
      </dsp:txXfrm>
    </dsp:sp>
    <dsp:sp modelId="{A35AE4CC-B896-4B8D-ABA9-63A418BC2ABF}">
      <dsp:nvSpPr>
        <dsp:cNvPr id="0" name=""/>
        <dsp:cNvSpPr/>
      </dsp:nvSpPr>
      <dsp:spPr>
        <a:xfrm>
          <a:off x="2374650" y="1148417"/>
          <a:ext cx="175786" cy="65920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59200"/>
              </a:lnTo>
              <a:lnTo>
                <a:pt x="175786" y="65920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790899B-3B79-44EB-85BC-8238E1C03D2D}">
      <dsp:nvSpPr>
        <dsp:cNvPr id="0" name=""/>
        <dsp:cNvSpPr/>
      </dsp:nvSpPr>
      <dsp:spPr>
        <a:xfrm>
          <a:off x="2550436" y="1368150"/>
          <a:ext cx="1406293" cy="87893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Book Antiqua" panose="02040602050305030304" pitchFamily="18" charset="0"/>
            </a:rPr>
            <a:t>С территории одного государства-члена на территорию др. государства-члена</a:t>
          </a:r>
          <a:endParaRPr lang="ru-RU" sz="900" kern="1200" dirty="0">
            <a:latin typeface="Book Antiqua" panose="02040602050305030304" pitchFamily="18" charset="0"/>
          </a:endParaRPr>
        </a:p>
      </dsp:txBody>
      <dsp:txXfrm>
        <a:off x="2576179" y="1393893"/>
        <a:ext cx="1354807" cy="827447"/>
      </dsp:txXfrm>
    </dsp:sp>
    <dsp:sp modelId="{64106EA1-47A3-4B44-A61B-6C71FEF44C0E}">
      <dsp:nvSpPr>
        <dsp:cNvPr id="0" name=""/>
        <dsp:cNvSpPr/>
      </dsp:nvSpPr>
      <dsp:spPr>
        <a:xfrm>
          <a:off x="2374650" y="1148417"/>
          <a:ext cx="175786" cy="17974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97427"/>
              </a:lnTo>
              <a:lnTo>
                <a:pt x="175786" y="179742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0710C5-9C3E-48AA-A2B2-BA6C509D1E6A}">
      <dsp:nvSpPr>
        <dsp:cNvPr id="0" name=""/>
        <dsp:cNvSpPr/>
      </dsp:nvSpPr>
      <dsp:spPr>
        <a:xfrm>
          <a:off x="2550436" y="2466817"/>
          <a:ext cx="1629739" cy="95805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Book Antiqua" panose="02040602050305030304" pitchFamily="18" charset="0"/>
            </a:rPr>
            <a:t>На территории одного государства-члена лицом этого государства –члена  лицу др. государства-члена (потребителю услуг)</a:t>
          </a:r>
          <a:endParaRPr lang="ru-RU" sz="900" kern="1200" dirty="0">
            <a:latin typeface="Book Antiqua" panose="02040602050305030304" pitchFamily="18" charset="0"/>
          </a:endParaRPr>
        </a:p>
      </dsp:txBody>
      <dsp:txXfrm>
        <a:off x="2578496" y="2494877"/>
        <a:ext cx="1573619" cy="901935"/>
      </dsp:txXfrm>
    </dsp:sp>
    <dsp:sp modelId="{CE1E9D3E-680C-498F-B122-826B5AF8564C}">
      <dsp:nvSpPr>
        <dsp:cNvPr id="0" name=""/>
        <dsp:cNvSpPr/>
      </dsp:nvSpPr>
      <dsp:spPr>
        <a:xfrm>
          <a:off x="2374650" y="1148417"/>
          <a:ext cx="175786" cy="304258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42582"/>
              </a:lnTo>
              <a:lnTo>
                <a:pt x="175786" y="304258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A85ED6-842B-41B8-814F-F29B1105ADAF}">
      <dsp:nvSpPr>
        <dsp:cNvPr id="0" name=""/>
        <dsp:cNvSpPr/>
      </dsp:nvSpPr>
      <dsp:spPr>
        <a:xfrm>
          <a:off x="2550436" y="3644606"/>
          <a:ext cx="1413718" cy="109278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Book Antiqua" panose="02040602050305030304" pitchFamily="18" charset="0"/>
            </a:rPr>
            <a:t>Поставщиком финансовых услуг одного государства- члена путем учреждения и деятельности на территории другого государства-члена</a:t>
          </a:r>
          <a:endParaRPr lang="ru-RU" sz="900" kern="1200" dirty="0">
            <a:latin typeface="Book Antiqua" panose="02040602050305030304" pitchFamily="18" charset="0"/>
          </a:endParaRPr>
        </a:p>
      </dsp:txBody>
      <dsp:txXfrm>
        <a:off x="2582443" y="3676613"/>
        <a:ext cx="1349704" cy="1028772"/>
      </dsp:txXfrm>
    </dsp:sp>
    <dsp:sp modelId="{E23E5406-4BD3-4504-973B-DB8B19679FF7}">
      <dsp:nvSpPr>
        <dsp:cNvPr id="0" name=""/>
        <dsp:cNvSpPr/>
      </dsp:nvSpPr>
      <dsp:spPr>
        <a:xfrm>
          <a:off x="4396197" y="269483"/>
          <a:ext cx="1757867" cy="878933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0099CC"/>
            </a:gs>
            <a:gs pos="73000">
              <a:srgbClr val="003399"/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solidFill>
                <a:schemeClr val="bg1"/>
              </a:solidFill>
              <a:latin typeface="Book Antiqua" panose="02040602050305030304" pitchFamily="18" charset="0"/>
            </a:rPr>
            <a:t>Приложение №1 и №2 –индивидуальные национальные перечни изъятий и ограничений </a:t>
          </a:r>
          <a:endParaRPr lang="ru-RU" sz="1000" kern="1200" dirty="0">
            <a:solidFill>
              <a:schemeClr val="bg1"/>
            </a:solidFill>
            <a:latin typeface="Book Antiqua" panose="02040602050305030304" pitchFamily="18" charset="0"/>
          </a:endParaRPr>
        </a:p>
      </dsp:txBody>
      <dsp:txXfrm>
        <a:off x="4421940" y="295226"/>
        <a:ext cx="1706381" cy="827447"/>
      </dsp:txXfrm>
    </dsp:sp>
    <dsp:sp modelId="{0F59782F-8949-4181-B1FE-CB23247686EE}">
      <dsp:nvSpPr>
        <dsp:cNvPr id="0" name=""/>
        <dsp:cNvSpPr/>
      </dsp:nvSpPr>
      <dsp:spPr>
        <a:xfrm>
          <a:off x="4571984" y="1148417"/>
          <a:ext cx="175786" cy="8752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75224"/>
              </a:lnTo>
              <a:lnTo>
                <a:pt x="175786" y="87522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882CC00-BB2C-477B-99F9-5F368818956E}">
      <dsp:nvSpPr>
        <dsp:cNvPr id="0" name=""/>
        <dsp:cNvSpPr/>
      </dsp:nvSpPr>
      <dsp:spPr>
        <a:xfrm>
          <a:off x="4747770" y="1368150"/>
          <a:ext cx="1982353" cy="131098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Book Antiqua" panose="02040602050305030304" pitchFamily="18" charset="0"/>
            </a:rPr>
            <a:t>Приложение №1 – перечень подсекторов финансовых услуг, в которых государствами-членами в соответствии с пунктом 4 Протокола (Приложение №17) предоставляется национальный режим и принимаются обязательства в соответствии с пунктом 10 Протокола </a:t>
          </a:r>
          <a:endParaRPr lang="ru-RU" sz="900" kern="1200" dirty="0">
            <a:latin typeface="Book Antiqua" panose="02040602050305030304" pitchFamily="18" charset="0"/>
          </a:endParaRPr>
        </a:p>
      </dsp:txBody>
      <dsp:txXfrm>
        <a:off x="4786167" y="1406547"/>
        <a:ext cx="1905559" cy="1234188"/>
      </dsp:txXfrm>
    </dsp:sp>
    <dsp:sp modelId="{7E9C5249-71DE-4D5D-82AA-FA0179CB0CAB}">
      <dsp:nvSpPr>
        <dsp:cNvPr id="0" name=""/>
        <dsp:cNvSpPr/>
      </dsp:nvSpPr>
      <dsp:spPr>
        <a:xfrm>
          <a:off x="4571984" y="1148417"/>
          <a:ext cx="175786" cy="230148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01487"/>
              </a:lnTo>
              <a:lnTo>
                <a:pt x="175786" y="230148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F4A6885-9A09-48E5-8BC3-3CAB41AC3ED7}">
      <dsp:nvSpPr>
        <dsp:cNvPr id="0" name=""/>
        <dsp:cNvSpPr/>
      </dsp:nvSpPr>
      <dsp:spPr>
        <a:xfrm>
          <a:off x="4747770" y="2898866"/>
          <a:ext cx="1771578" cy="110207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Book Antiqua" panose="02040602050305030304" pitchFamily="18" charset="0"/>
            </a:rPr>
            <a:t>Приложение №2 – Ограничения, сохраняемые государствами-членами в отношении учреждения и деятельности</a:t>
          </a:r>
          <a:endParaRPr lang="ru-RU" sz="900" kern="1200" dirty="0">
            <a:latin typeface="Book Antiqua" panose="02040602050305030304" pitchFamily="18" charset="0"/>
          </a:endParaRPr>
        </a:p>
      </dsp:txBody>
      <dsp:txXfrm>
        <a:off x="4780049" y="2931145"/>
        <a:ext cx="1707020" cy="1037519"/>
      </dsp:txXfrm>
    </dsp:sp>
    <dsp:sp modelId="{6D04B1A6-F1B8-4011-831B-B943DA05AD98}">
      <dsp:nvSpPr>
        <dsp:cNvPr id="0" name=""/>
        <dsp:cNvSpPr/>
      </dsp:nvSpPr>
      <dsp:spPr>
        <a:xfrm>
          <a:off x="6593531" y="269483"/>
          <a:ext cx="1757867" cy="878933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0099CC"/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latin typeface="Book Antiqua" panose="02040602050305030304" pitchFamily="18" charset="0"/>
            </a:rPr>
            <a:t>Государства-члены обеспечивают поэтапное сокращение изъятий и ограничений, указанных в приложениях №1 и 2</a:t>
          </a:r>
          <a:endParaRPr lang="ru-RU" sz="1000" kern="1200" dirty="0">
            <a:latin typeface="Book Antiqua" panose="02040602050305030304" pitchFamily="18" charset="0"/>
          </a:endParaRPr>
        </a:p>
      </dsp:txBody>
      <dsp:txXfrm>
        <a:off x="6619274" y="295226"/>
        <a:ext cx="1706381" cy="82744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92F7DE-73FF-431E-A248-7C7D048B3432}">
      <dsp:nvSpPr>
        <dsp:cNvPr id="0" name=""/>
        <dsp:cNvSpPr/>
      </dsp:nvSpPr>
      <dsp:spPr>
        <a:xfrm>
          <a:off x="3169390" y="2125187"/>
          <a:ext cx="1917834" cy="1828845"/>
        </a:xfrm>
        <a:prstGeom prst="ellipse">
          <a:avLst/>
        </a:prstGeom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</a:gra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Book Antiqua" panose="02040602050305030304" pitchFamily="18" charset="0"/>
            </a:rPr>
            <a:t>СОГЛАШЕНИЕ О ТРЕБОВАНИЯХ </a:t>
          </a:r>
          <a:endParaRPr lang="ru-RU" sz="1200" kern="1200" dirty="0">
            <a:latin typeface="Book Antiqua" panose="02040602050305030304" pitchFamily="18" charset="0"/>
          </a:endParaRPr>
        </a:p>
      </dsp:txBody>
      <dsp:txXfrm>
        <a:off x="3450250" y="2393015"/>
        <a:ext cx="1356114" cy="1293189"/>
      </dsp:txXfrm>
    </dsp:sp>
    <dsp:sp modelId="{8347B773-87D3-4D14-83EC-FE79A41C025D}">
      <dsp:nvSpPr>
        <dsp:cNvPr id="0" name=""/>
        <dsp:cNvSpPr/>
      </dsp:nvSpPr>
      <dsp:spPr>
        <a:xfrm rot="16116106">
          <a:off x="3958943" y="1625815"/>
          <a:ext cx="283846" cy="57918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/>
        </a:p>
      </dsp:txBody>
      <dsp:txXfrm rot="10800000">
        <a:off x="4002559" y="1784215"/>
        <a:ext cx="198692" cy="347508"/>
      </dsp:txXfrm>
    </dsp:sp>
    <dsp:sp modelId="{FA704D77-E79D-4D13-8D92-DCF265207CBF}">
      <dsp:nvSpPr>
        <dsp:cNvPr id="0" name=""/>
        <dsp:cNvSpPr/>
      </dsp:nvSpPr>
      <dsp:spPr>
        <a:xfrm>
          <a:off x="2145684" y="72885"/>
          <a:ext cx="3859949" cy="1619542"/>
        </a:xfrm>
        <a:prstGeom prst="ellipse">
          <a:avLst/>
        </a:prstGeom>
        <a:solidFill>
          <a:srgbClr val="0099CC"/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ПРИНЯТИЕ СОГЛАСОВАННЫХ ТРЕБОВАНИЙ К УЧАСТНИКАМ ФР В ОТНОШЕНИИ ИХ СОЗДАНИЯ, УЧРЕЖДЕНИЯ И ДЕЯТЕЛЬНОСТИ</a:t>
          </a:r>
          <a:endParaRPr lang="ru-RU" sz="1100" kern="1200" dirty="0">
            <a:solidFill>
              <a:schemeClr val="tx1"/>
            </a:solidFill>
            <a:latin typeface="Book Antiqua" panose="02040602050305030304" pitchFamily="18" charset="0"/>
          </a:endParaRPr>
        </a:p>
      </dsp:txBody>
      <dsp:txXfrm>
        <a:off x="2710960" y="310061"/>
        <a:ext cx="2729397" cy="1145190"/>
      </dsp:txXfrm>
    </dsp:sp>
    <dsp:sp modelId="{FE8A0DA5-1E05-4D2E-B8E3-17F587A096C6}">
      <dsp:nvSpPr>
        <dsp:cNvPr id="0" name=""/>
        <dsp:cNvSpPr/>
      </dsp:nvSpPr>
      <dsp:spPr>
        <a:xfrm rot="20520324">
          <a:off x="5057064" y="2404973"/>
          <a:ext cx="267055" cy="57918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/>
        </a:p>
      </dsp:txBody>
      <dsp:txXfrm>
        <a:off x="5059023" y="2533184"/>
        <a:ext cx="186939" cy="347508"/>
      </dsp:txXfrm>
    </dsp:sp>
    <dsp:sp modelId="{75220C0D-BA3C-4E78-B3EA-CC9BE0A8833C}">
      <dsp:nvSpPr>
        <dsp:cNvPr id="0" name=""/>
        <dsp:cNvSpPr/>
      </dsp:nvSpPr>
      <dsp:spPr>
        <a:xfrm>
          <a:off x="5326791" y="787904"/>
          <a:ext cx="2159628" cy="3023357"/>
        </a:xfrm>
        <a:prstGeom prst="ellipse">
          <a:avLst/>
        </a:prstGeom>
        <a:solidFill>
          <a:srgbClr val="0099CC"/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ОБЕСПЕЧЕНИЕ УСЛОВИЙ ДЛЯ ВЗАИМНОГО ПРИЗНАНИЯ ЛИЦЕНЗИЙ</a:t>
          </a:r>
          <a:endParaRPr lang="ru-RU" sz="1100" kern="1200" dirty="0">
            <a:solidFill>
              <a:schemeClr val="tx1"/>
            </a:solidFill>
            <a:latin typeface="Book Antiqua" panose="02040602050305030304" pitchFamily="18" charset="0"/>
          </a:endParaRPr>
        </a:p>
      </dsp:txBody>
      <dsp:txXfrm>
        <a:off x="5643061" y="1230664"/>
        <a:ext cx="1527088" cy="2137837"/>
      </dsp:txXfrm>
    </dsp:sp>
    <dsp:sp modelId="{644B595B-69BF-4FC0-B29F-5CCB6FFEAADD}">
      <dsp:nvSpPr>
        <dsp:cNvPr id="0" name=""/>
        <dsp:cNvSpPr/>
      </dsp:nvSpPr>
      <dsp:spPr>
        <a:xfrm rot="2564330">
          <a:off x="4801950" y="3474410"/>
          <a:ext cx="220610" cy="57918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/>
        </a:p>
      </dsp:txBody>
      <dsp:txXfrm>
        <a:off x="4810737" y="3567788"/>
        <a:ext cx="154427" cy="347508"/>
      </dsp:txXfrm>
    </dsp:sp>
    <dsp:sp modelId="{6E0FCB20-4EEB-40D8-8906-E5B16181C30C}">
      <dsp:nvSpPr>
        <dsp:cNvPr id="0" name=""/>
        <dsp:cNvSpPr/>
      </dsp:nvSpPr>
      <dsp:spPr>
        <a:xfrm>
          <a:off x="4262768" y="3629145"/>
          <a:ext cx="3620066" cy="2414467"/>
        </a:xfrm>
        <a:prstGeom prst="ellipse">
          <a:avLst/>
        </a:prstGeom>
        <a:solidFill>
          <a:srgbClr val="0099CC"/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ОБЕСПЕЧЕНИЕ НЕДИСКРИМИНАЦИОННОГО ДОСТУПА НА ФИНАНСОВЫЕ РЫНКИ</a:t>
          </a:r>
          <a:endParaRPr lang="ru-RU" sz="1100" kern="1200" dirty="0">
            <a:solidFill>
              <a:schemeClr val="tx1"/>
            </a:solidFill>
            <a:latin typeface="Book Antiqua" panose="02040602050305030304" pitchFamily="18" charset="0"/>
          </a:endParaRPr>
        </a:p>
      </dsp:txBody>
      <dsp:txXfrm>
        <a:off x="4792914" y="3982736"/>
        <a:ext cx="2559774" cy="1707285"/>
      </dsp:txXfrm>
    </dsp:sp>
    <dsp:sp modelId="{DCAE4B27-8F1B-4075-A0CE-AF4D2511FFB1}">
      <dsp:nvSpPr>
        <dsp:cNvPr id="0" name=""/>
        <dsp:cNvSpPr/>
      </dsp:nvSpPr>
      <dsp:spPr>
        <a:xfrm rot="8287164">
          <a:off x="2933531" y="3575938"/>
          <a:ext cx="547294" cy="57918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/>
        </a:p>
      </dsp:txBody>
      <dsp:txXfrm rot="10800000">
        <a:off x="3076747" y="3636970"/>
        <a:ext cx="383106" cy="347508"/>
      </dsp:txXfrm>
    </dsp:sp>
    <dsp:sp modelId="{6CEA1BB9-EE9D-494B-87E1-3B9FE9D9563F}">
      <dsp:nvSpPr>
        <dsp:cNvPr id="0" name=""/>
        <dsp:cNvSpPr/>
      </dsp:nvSpPr>
      <dsp:spPr>
        <a:xfrm>
          <a:off x="500156" y="3823927"/>
          <a:ext cx="3022164" cy="2227852"/>
        </a:xfrm>
        <a:prstGeom prst="ellipse">
          <a:avLst/>
        </a:prstGeom>
        <a:solidFill>
          <a:srgbClr val="0099CC"/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СОГЛАСОВАНИЕ ЕДИНЫХ ТРЕБОВАНИЙ ПО ЗАЩИТЕ ПРАВ И ИНТЕРЕСОВ ПОТРЕБИТЕЛЕЙ ФИН. УСЛУГ</a:t>
          </a:r>
          <a:endParaRPr lang="ru-RU" sz="1100" kern="1200" dirty="0">
            <a:solidFill>
              <a:schemeClr val="tx1"/>
            </a:solidFill>
            <a:latin typeface="Book Antiqua" panose="02040602050305030304" pitchFamily="18" charset="0"/>
          </a:endParaRPr>
        </a:p>
      </dsp:txBody>
      <dsp:txXfrm>
        <a:off x="942742" y="4150188"/>
        <a:ext cx="2136992" cy="1575330"/>
      </dsp:txXfrm>
    </dsp:sp>
    <dsp:sp modelId="{0976C174-FE16-45BA-9334-82CB8FFB7318}">
      <dsp:nvSpPr>
        <dsp:cNvPr id="0" name=""/>
        <dsp:cNvSpPr/>
      </dsp:nvSpPr>
      <dsp:spPr>
        <a:xfrm rot="11722450">
          <a:off x="2786534" y="2440800"/>
          <a:ext cx="434358" cy="57918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/>
        </a:p>
      </dsp:txBody>
      <dsp:txXfrm rot="10800000">
        <a:off x="2914509" y="2573910"/>
        <a:ext cx="304051" cy="347508"/>
      </dsp:txXfrm>
    </dsp:sp>
    <dsp:sp modelId="{4BBC2333-E37F-4D57-9A7E-3627C386AA86}">
      <dsp:nvSpPr>
        <dsp:cNvPr id="0" name=""/>
        <dsp:cNvSpPr/>
      </dsp:nvSpPr>
      <dsp:spPr>
        <a:xfrm>
          <a:off x="452128" y="1036985"/>
          <a:ext cx="2370467" cy="2635425"/>
        </a:xfrm>
        <a:prstGeom prst="ellipse">
          <a:avLst/>
        </a:prstGeom>
        <a:solidFill>
          <a:srgbClr val="0099CC"/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ОПРЕДЕЛЯЕТ НАПРАВЛЕНИЕ, ПОРЯДОК И СРОКИ ГАРМОНИЗАЦИИ НАЦИОНАЛЬНЫХ ЗАКОНОДАТЕЛЬСТВ В ФИНАНСОВОЙ СФЕРЕ (БАНКИ, СТРАХОВАНИЕ, РЦБ)</a:t>
          </a:r>
        </a:p>
      </dsp:txBody>
      <dsp:txXfrm>
        <a:off x="799275" y="1422934"/>
        <a:ext cx="1676173" cy="186352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92F7DE-73FF-431E-A248-7C7D048B3432}">
      <dsp:nvSpPr>
        <dsp:cNvPr id="0" name=""/>
        <dsp:cNvSpPr/>
      </dsp:nvSpPr>
      <dsp:spPr>
        <a:xfrm>
          <a:off x="2443228" y="1368134"/>
          <a:ext cx="2021256" cy="1736714"/>
        </a:xfrm>
        <a:prstGeom prst="ellipse">
          <a:avLst/>
        </a:prstGeom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8255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latin typeface="Book Antiqua" panose="02040602050305030304" pitchFamily="18" charset="0"/>
            </a:rPr>
            <a:t>СОГЛАШЕНИЕ ОБ ОБМЕНЕ ИНФОРМАЦИЕЙ </a:t>
          </a:r>
          <a:endParaRPr lang="ru-RU" sz="1000" kern="1200" dirty="0">
            <a:latin typeface="Book Antiqua" panose="02040602050305030304" pitchFamily="18" charset="0"/>
          </a:endParaRPr>
        </a:p>
      </dsp:txBody>
      <dsp:txXfrm>
        <a:off x="2739234" y="1622470"/>
        <a:ext cx="1429244" cy="1228042"/>
      </dsp:txXfrm>
    </dsp:sp>
    <dsp:sp modelId="{8347B773-87D3-4D14-83EC-FE79A41C025D}">
      <dsp:nvSpPr>
        <dsp:cNvPr id="0" name=""/>
        <dsp:cNvSpPr/>
      </dsp:nvSpPr>
      <dsp:spPr>
        <a:xfrm rot="17386716">
          <a:off x="3686484" y="1035324"/>
          <a:ext cx="221081" cy="49371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/>
        </a:scene3d>
        <a:sp3d>
          <a:bevelT w="6985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800" kern="1200"/>
        </a:p>
      </dsp:txBody>
      <dsp:txXfrm>
        <a:off x="3708424" y="1165274"/>
        <a:ext cx="154757" cy="296230"/>
      </dsp:txXfrm>
    </dsp:sp>
    <dsp:sp modelId="{FA704D77-E79D-4D13-8D92-DCF265207CBF}">
      <dsp:nvSpPr>
        <dsp:cNvPr id="0" name=""/>
        <dsp:cNvSpPr/>
      </dsp:nvSpPr>
      <dsp:spPr>
        <a:xfrm>
          <a:off x="2737462" y="-147239"/>
          <a:ext cx="2677203" cy="1306903"/>
        </a:xfrm>
        <a:prstGeom prst="ellipse">
          <a:avLst/>
        </a:prstGeom>
        <a:solidFill>
          <a:srgbClr val="0099C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4445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ОБМЕН ИНФОРМАЦИЕЙ О ФИН. ОРГАНИЗАЦИЯХ И ТРАНСГРАНИЧНЫХ ОРГАНИЗАЦИЯХ СТОРОН</a:t>
          </a:r>
          <a:endParaRPr lang="ru-RU" sz="1100" kern="1200" dirty="0">
            <a:solidFill>
              <a:schemeClr val="tx1"/>
            </a:solidFill>
            <a:latin typeface="Book Antiqua" panose="02040602050305030304" pitchFamily="18" charset="0"/>
          </a:endParaRPr>
        </a:p>
      </dsp:txBody>
      <dsp:txXfrm>
        <a:off x="3129529" y="44153"/>
        <a:ext cx="1893069" cy="924119"/>
      </dsp:txXfrm>
    </dsp:sp>
    <dsp:sp modelId="{FE8A0DA5-1E05-4D2E-B8E3-17F587A096C6}">
      <dsp:nvSpPr>
        <dsp:cNvPr id="0" name=""/>
        <dsp:cNvSpPr/>
      </dsp:nvSpPr>
      <dsp:spPr>
        <a:xfrm rot="20218675">
          <a:off x="4410461" y="1425543"/>
          <a:ext cx="741762" cy="49371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/>
        </a:scene3d>
        <a:sp3d>
          <a:bevelT w="635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800" kern="1200"/>
        </a:p>
      </dsp:txBody>
      <dsp:txXfrm>
        <a:off x="4416359" y="1553250"/>
        <a:ext cx="593647" cy="296230"/>
      </dsp:txXfrm>
    </dsp:sp>
    <dsp:sp modelId="{75220C0D-BA3C-4E78-B3EA-CC9BE0A8833C}">
      <dsp:nvSpPr>
        <dsp:cNvPr id="0" name=""/>
        <dsp:cNvSpPr/>
      </dsp:nvSpPr>
      <dsp:spPr>
        <a:xfrm>
          <a:off x="4997753" y="154792"/>
          <a:ext cx="2703564" cy="1702476"/>
        </a:xfrm>
        <a:prstGeom prst="ellipse">
          <a:avLst/>
        </a:prstGeom>
        <a:solidFill>
          <a:srgbClr val="0099C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508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ОБМЕН ИНФОРМАЦИЕЙ О ПРАВОПРИМЕНИТЕЛЬНОЙ ПРАКТИКЕ ГОСУДАРСТВ СТОРОН</a:t>
          </a:r>
          <a:endParaRPr lang="ru-RU" sz="1100" kern="1200" dirty="0">
            <a:solidFill>
              <a:schemeClr val="tx1"/>
            </a:solidFill>
            <a:latin typeface="Book Antiqua" panose="02040602050305030304" pitchFamily="18" charset="0"/>
          </a:endParaRPr>
        </a:p>
      </dsp:txBody>
      <dsp:txXfrm>
        <a:off x="5393681" y="404114"/>
        <a:ext cx="1911708" cy="1203832"/>
      </dsp:txXfrm>
    </dsp:sp>
    <dsp:sp modelId="{644B595B-69BF-4FC0-B29F-5CCB6FFEAADD}">
      <dsp:nvSpPr>
        <dsp:cNvPr id="0" name=""/>
        <dsp:cNvSpPr/>
      </dsp:nvSpPr>
      <dsp:spPr>
        <a:xfrm rot="21598296">
          <a:off x="4501829" y="1988917"/>
          <a:ext cx="789028" cy="49371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800" kern="1200"/>
        </a:p>
      </dsp:txBody>
      <dsp:txXfrm>
        <a:off x="4501829" y="2087698"/>
        <a:ext cx="640913" cy="296230"/>
      </dsp:txXfrm>
    </dsp:sp>
    <dsp:sp modelId="{6E0FCB20-4EEB-40D8-8906-E5B16181C30C}">
      <dsp:nvSpPr>
        <dsp:cNvPr id="0" name=""/>
        <dsp:cNvSpPr/>
      </dsp:nvSpPr>
      <dsp:spPr>
        <a:xfrm>
          <a:off x="5354916" y="1374916"/>
          <a:ext cx="3101150" cy="1719727"/>
        </a:xfrm>
        <a:prstGeom prst="ellipse">
          <a:avLst/>
        </a:prstGeom>
        <a:solidFill>
          <a:srgbClr val="0099C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4445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СОДЕЙСТВИЕ В ОРГАНИЗАЦИИ СЕМИНАРОВ, КУРСОВ, РАБОЧИХ ВСТРЕЧ С ЦЕЛЬЮ ПОВЫШЕНИЯ КВАЛИФИКАЦИИ СТОРУДНИКОВ УПОЛНОМОЧЕННЫХ ОРГАНОВ</a:t>
          </a:r>
          <a:endParaRPr lang="ru-RU" sz="1100" kern="1200" dirty="0">
            <a:solidFill>
              <a:schemeClr val="tx1"/>
            </a:solidFill>
            <a:latin typeface="Book Antiqua" panose="02040602050305030304" pitchFamily="18" charset="0"/>
          </a:endParaRPr>
        </a:p>
      </dsp:txBody>
      <dsp:txXfrm>
        <a:off x="5809069" y="1626764"/>
        <a:ext cx="2192844" cy="1216031"/>
      </dsp:txXfrm>
    </dsp:sp>
    <dsp:sp modelId="{B783FE8E-907B-4C2C-B695-6914080798E3}">
      <dsp:nvSpPr>
        <dsp:cNvPr id="0" name=""/>
        <dsp:cNvSpPr/>
      </dsp:nvSpPr>
      <dsp:spPr>
        <a:xfrm rot="1728331">
          <a:off x="4354718" y="2627974"/>
          <a:ext cx="520025" cy="49371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/>
        </a:scene3d>
        <a:sp3d>
          <a:bevelT w="635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800" kern="1200"/>
        </a:p>
      </dsp:txBody>
      <dsp:txXfrm>
        <a:off x="4363882" y="2691034"/>
        <a:ext cx="371910" cy="296230"/>
      </dsp:txXfrm>
    </dsp:sp>
    <dsp:sp modelId="{1261C45A-6F9B-46F4-BE9B-84C1F7CBF352}">
      <dsp:nvSpPr>
        <dsp:cNvPr id="0" name=""/>
        <dsp:cNvSpPr/>
      </dsp:nvSpPr>
      <dsp:spPr>
        <a:xfrm>
          <a:off x="4349050" y="2880318"/>
          <a:ext cx="3303393" cy="1513315"/>
        </a:xfrm>
        <a:prstGeom prst="ellipse">
          <a:avLst/>
        </a:prstGeom>
        <a:solidFill>
          <a:srgbClr val="0099C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6985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СОДЕЙСТВИЕ ПОВЫШЕНИЮ ФИНАНСОВОЙ ГРАМОТНОСТИ НАСЕЛЕНИЯ ГОСУДАРСТВ СТОРОН</a:t>
          </a:r>
          <a:endParaRPr lang="ru-RU" sz="1100" kern="1200" dirty="0">
            <a:solidFill>
              <a:schemeClr val="tx1"/>
            </a:solidFill>
            <a:latin typeface="Book Antiqua" panose="02040602050305030304" pitchFamily="18" charset="0"/>
          </a:endParaRPr>
        </a:p>
      </dsp:txBody>
      <dsp:txXfrm>
        <a:off x="4832821" y="3101938"/>
        <a:ext cx="2335851" cy="1070075"/>
      </dsp:txXfrm>
    </dsp:sp>
    <dsp:sp modelId="{2944E50E-3869-472D-925D-E53C9B8EA0D1}">
      <dsp:nvSpPr>
        <dsp:cNvPr id="0" name=""/>
        <dsp:cNvSpPr/>
      </dsp:nvSpPr>
      <dsp:spPr>
        <a:xfrm rot="5666034">
          <a:off x="3303799" y="2940816"/>
          <a:ext cx="152601" cy="49371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/>
        </a:scene3d>
        <a:sp3d>
          <a:bevelT w="635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800" kern="1200"/>
        </a:p>
      </dsp:txBody>
      <dsp:txXfrm rot="10800000">
        <a:off x="3328459" y="3016739"/>
        <a:ext cx="106821" cy="296230"/>
      </dsp:txXfrm>
    </dsp:sp>
    <dsp:sp modelId="{6B94B901-6185-403C-83D9-A8F164FC7A42}">
      <dsp:nvSpPr>
        <dsp:cNvPr id="0" name=""/>
        <dsp:cNvSpPr/>
      </dsp:nvSpPr>
      <dsp:spPr>
        <a:xfrm>
          <a:off x="1593286" y="3276767"/>
          <a:ext cx="3411683" cy="1910313"/>
        </a:xfrm>
        <a:prstGeom prst="ellipse">
          <a:avLst/>
        </a:prstGeom>
        <a:solidFill>
          <a:srgbClr val="0099C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6985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Государство, присоединяющиеся к настоящему Соглашению, обеспечивает уровень защиты конфиденциальной информации эквивалентный уровню защиты конфиденциальной информации, предусмотренному законодательством государств Сторон</a:t>
          </a:r>
          <a:endParaRPr lang="ru-RU" sz="1100" kern="1200" dirty="0">
            <a:solidFill>
              <a:schemeClr val="tx1"/>
            </a:solidFill>
            <a:latin typeface="Book Antiqua" panose="02040602050305030304" pitchFamily="18" charset="0"/>
          </a:endParaRPr>
        </a:p>
      </dsp:txBody>
      <dsp:txXfrm>
        <a:off x="2092915" y="3556526"/>
        <a:ext cx="2412425" cy="1350795"/>
      </dsp:txXfrm>
    </dsp:sp>
    <dsp:sp modelId="{A35EA9F5-B0CA-43FE-BD21-8167BBE44BBD}">
      <dsp:nvSpPr>
        <dsp:cNvPr id="0" name=""/>
        <dsp:cNvSpPr/>
      </dsp:nvSpPr>
      <dsp:spPr>
        <a:xfrm rot="9542282">
          <a:off x="1951890" y="2457158"/>
          <a:ext cx="563192" cy="49371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/>
        </a:scene3d>
        <a:sp3d>
          <a:bevelT w="635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800" kern="1200"/>
        </a:p>
      </dsp:txBody>
      <dsp:txXfrm rot="10800000">
        <a:off x="2095104" y="2529408"/>
        <a:ext cx="415077" cy="296230"/>
      </dsp:txXfrm>
    </dsp:sp>
    <dsp:sp modelId="{0BDB3250-D354-4342-A31A-0531D40C1635}">
      <dsp:nvSpPr>
        <dsp:cNvPr id="0" name=""/>
        <dsp:cNvSpPr/>
      </dsp:nvSpPr>
      <dsp:spPr>
        <a:xfrm>
          <a:off x="100586" y="1995375"/>
          <a:ext cx="1857344" cy="2339970"/>
        </a:xfrm>
        <a:prstGeom prst="ellipse">
          <a:avLst/>
        </a:prstGeom>
        <a:solidFill>
          <a:srgbClr val="0099C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5715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Уполномоченные органы в пределах своей компетенции (полномочий) осуществляют обмен информацией, в том числе конфиденциальной по запросу любого уполномоченного органа в наиболее полном объеме</a:t>
          </a:r>
          <a:endParaRPr lang="ru-RU" sz="1000" kern="1200" dirty="0">
            <a:solidFill>
              <a:schemeClr val="tx1"/>
            </a:solidFill>
            <a:latin typeface="Book Antiqua" panose="02040602050305030304" pitchFamily="18" charset="0"/>
          </a:endParaRPr>
        </a:p>
      </dsp:txBody>
      <dsp:txXfrm>
        <a:off x="372588" y="2338056"/>
        <a:ext cx="1313340" cy="1654608"/>
      </dsp:txXfrm>
    </dsp:sp>
    <dsp:sp modelId="{0976C174-FE16-45BA-9334-82CB8FFB7318}">
      <dsp:nvSpPr>
        <dsp:cNvPr id="0" name=""/>
        <dsp:cNvSpPr/>
      </dsp:nvSpPr>
      <dsp:spPr>
        <a:xfrm rot="12628322">
          <a:off x="2282126" y="1403498"/>
          <a:ext cx="351121" cy="493718"/>
        </a:xfrm>
        <a:prstGeom prst="rightArrow">
          <a:avLst>
            <a:gd name="adj1" fmla="val 60000"/>
            <a:gd name="adj2" fmla="val 50000"/>
          </a:avLst>
        </a:prstGeom>
        <a:solidFill>
          <a:srgbClr val="003399"/>
        </a:solidFill>
        <a:ln>
          <a:noFill/>
        </a:ln>
        <a:effectLst/>
        <a:scene3d>
          <a:camera prst="orthographicFront"/>
          <a:lightRig rig="threePt" dir="t"/>
        </a:scene3d>
        <a:sp3d>
          <a:bevelT w="5715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800" kern="1200"/>
        </a:p>
      </dsp:txBody>
      <dsp:txXfrm rot="10800000">
        <a:off x="2380187" y="1528951"/>
        <a:ext cx="245785" cy="296230"/>
      </dsp:txXfrm>
    </dsp:sp>
    <dsp:sp modelId="{4BBC2333-E37F-4D57-9A7E-3627C386AA86}">
      <dsp:nvSpPr>
        <dsp:cNvPr id="0" name=""/>
        <dsp:cNvSpPr/>
      </dsp:nvSpPr>
      <dsp:spPr>
        <a:xfrm>
          <a:off x="123092" y="0"/>
          <a:ext cx="2385790" cy="1957191"/>
        </a:xfrm>
        <a:prstGeom prst="ellipse">
          <a:avLst/>
        </a:prstGeom>
        <a:solidFill>
          <a:srgbClr val="0099C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5715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chemeClr val="tx1"/>
              </a:solidFill>
              <a:latin typeface="Book Antiqua" panose="02040602050305030304" pitchFamily="18" charset="0"/>
            </a:rPr>
            <a:t>ОБМЕН ИНФОРМАЦИЕЙ НА ФИН РЫНКАХ И ВЗАИМНЫЕ КОНСУЛЬТАЦИИ СТОРОН</a:t>
          </a:r>
        </a:p>
      </dsp:txBody>
      <dsp:txXfrm>
        <a:off x="472483" y="286624"/>
        <a:ext cx="1687008" cy="1383943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D82740-A365-4927-B17E-D91934F00D42}">
      <dsp:nvSpPr>
        <dsp:cNvPr id="0" name=""/>
        <dsp:cNvSpPr/>
      </dsp:nvSpPr>
      <dsp:spPr>
        <a:xfrm>
          <a:off x="-6021049" y="-921917"/>
          <a:ext cx="7172427" cy="7172427"/>
        </a:xfrm>
        <a:prstGeom prst="blockArc">
          <a:avLst>
            <a:gd name="adj1" fmla="val 18900000"/>
            <a:gd name="adj2" fmla="val 2700000"/>
            <a:gd name="adj3" fmla="val 301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4ECC5A-B02F-4271-96E6-517A7CAA5468}">
      <dsp:nvSpPr>
        <dsp:cNvPr id="0" name=""/>
        <dsp:cNvSpPr/>
      </dsp:nvSpPr>
      <dsp:spPr>
        <a:xfrm>
          <a:off x="412892" y="225196"/>
          <a:ext cx="7929322" cy="484262"/>
        </a:xfrm>
        <a:prstGeom prst="rect">
          <a:avLst/>
        </a:prstGeom>
        <a:gradFill flip="none" rotWithShape="1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  <a:tileRect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4383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Создание общего финансового рынка ЕАЭС </a:t>
          </a:r>
          <a:endParaRPr lang="ru-RU" sz="1500" kern="1200" dirty="0">
            <a:latin typeface="Book Antiqua" panose="02040602050305030304" pitchFamily="18" charset="0"/>
            <a:ea typeface="+mn-ea"/>
            <a:cs typeface="Times New Roman" panose="02020603050405020304" pitchFamily="18" charset="0"/>
          </a:endParaRPr>
        </a:p>
      </dsp:txBody>
      <dsp:txXfrm>
        <a:off x="412892" y="225196"/>
        <a:ext cx="7929322" cy="484262"/>
      </dsp:txXfrm>
    </dsp:sp>
    <dsp:sp modelId="{26ADCB6E-F609-4B1F-8187-1D8D85352EEC}">
      <dsp:nvSpPr>
        <dsp:cNvPr id="0" name=""/>
        <dsp:cNvSpPr/>
      </dsp:nvSpPr>
      <dsp:spPr>
        <a:xfrm>
          <a:off x="80089" y="181111"/>
          <a:ext cx="605328" cy="60532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3A904B-2945-4DD7-8DE1-CB62F447A67F}">
      <dsp:nvSpPr>
        <dsp:cNvPr id="0" name=""/>
        <dsp:cNvSpPr/>
      </dsp:nvSpPr>
      <dsp:spPr>
        <a:xfrm>
          <a:off x="866052" y="977019"/>
          <a:ext cx="7490779" cy="484262"/>
        </a:xfrm>
        <a:prstGeom prst="rect">
          <a:avLst/>
        </a:prstGeom>
        <a:gradFill flip="none" rotWithShape="1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2700000" scaled="1"/>
          <a:tileRect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4383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Гармонизация законодательства государств-участников ТС и ЕЭП в финансовой сфере</a:t>
          </a:r>
          <a:r>
            <a:rPr lang="en-US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 </a:t>
          </a:r>
          <a:endParaRPr lang="ru-RU" sz="1500" kern="1200" dirty="0">
            <a:latin typeface="Book Antiqua" panose="02040602050305030304" pitchFamily="18" charset="0"/>
            <a:ea typeface="+mn-ea"/>
            <a:cs typeface="Times New Roman" panose="02020603050405020304" pitchFamily="18" charset="0"/>
          </a:endParaRPr>
        </a:p>
      </dsp:txBody>
      <dsp:txXfrm>
        <a:off x="866052" y="977019"/>
        <a:ext cx="7490779" cy="484262"/>
      </dsp:txXfrm>
    </dsp:sp>
    <dsp:sp modelId="{795E5A4E-731C-4F0A-BB61-44169590540D}">
      <dsp:nvSpPr>
        <dsp:cNvPr id="0" name=""/>
        <dsp:cNvSpPr/>
      </dsp:nvSpPr>
      <dsp:spPr>
        <a:xfrm>
          <a:off x="529286" y="892798"/>
          <a:ext cx="605328" cy="60532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B8AE3F6-BF95-47D0-BC1B-E67083D7DF5A}">
      <dsp:nvSpPr>
        <dsp:cNvPr id="0" name=""/>
        <dsp:cNvSpPr/>
      </dsp:nvSpPr>
      <dsp:spPr>
        <a:xfrm>
          <a:off x="1052663" y="1695344"/>
          <a:ext cx="7250459" cy="484262"/>
        </a:xfrm>
        <a:prstGeom prst="rect">
          <a:avLst/>
        </a:prstGeom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4383" tIns="38100" rIns="38100" bIns="38100" numCol="1" spcCol="1270" anchor="ctr" anchorCtr="0">
          <a:noAutofit/>
        </a:bodyPr>
        <a:lstStyle/>
        <a:p>
          <a:pPr lvl="0" algn="l" defTabSz="666750">
            <a:lnSpc>
              <a:spcPct val="100000"/>
            </a:lnSpc>
            <a:spcBef>
              <a:spcPct val="0"/>
            </a:spcBef>
            <a:spcAft>
              <a:spcPts val="600"/>
            </a:spcAft>
          </a:pPr>
          <a:r>
            <a:rPr lang="ru-RU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НИР №</a:t>
          </a:r>
          <a:r>
            <a:rPr lang="en-US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  <a:sym typeface="Wingdings" panose="05000000000000000000" pitchFamily="2" charset="2"/>
            </a:rPr>
            <a:t>1</a:t>
          </a:r>
          <a:r>
            <a:rPr lang="ru-RU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  <a:sym typeface="Wingdings" panose="05000000000000000000" pitchFamily="2" charset="2"/>
            </a:rPr>
            <a:t></a:t>
          </a:r>
          <a:r>
            <a:rPr lang="en-US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  <a:sym typeface="Wingdings" panose="05000000000000000000" pitchFamily="2" charset="2"/>
            </a:rPr>
            <a:t> </a:t>
          </a:r>
          <a:r>
            <a:rPr lang="ru-RU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  <a:sym typeface="Wingdings" panose="05000000000000000000" pitchFamily="2" charset="2"/>
            </a:rPr>
            <a:t>Разработка Стратегии развития финансовых рынков    государств-членов ТС и ЕЭП на период до 2025 года</a:t>
          </a:r>
          <a:endParaRPr lang="ru-RU" sz="1500" kern="1200" dirty="0">
            <a:latin typeface="Book Antiqua" panose="02040602050305030304" pitchFamily="18" charset="0"/>
            <a:ea typeface="+mn-ea"/>
            <a:cs typeface="Times New Roman" panose="02020603050405020304" pitchFamily="18" charset="0"/>
          </a:endParaRPr>
        </a:p>
      </dsp:txBody>
      <dsp:txXfrm>
        <a:off x="1052663" y="1695344"/>
        <a:ext cx="7250459" cy="484262"/>
      </dsp:txXfrm>
    </dsp:sp>
    <dsp:sp modelId="{EB90A5C8-1B87-4CA5-9481-8B730946B8D7}">
      <dsp:nvSpPr>
        <dsp:cNvPr id="0" name=""/>
        <dsp:cNvSpPr/>
      </dsp:nvSpPr>
      <dsp:spPr>
        <a:xfrm>
          <a:off x="762299" y="1654297"/>
          <a:ext cx="605328" cy="60532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57F3D88-7CF9-4269-8D89-807D04C932AF}">
      <dsp:nvSpPr>
        <dsp:cNvPr id="0" name=""/>
        <dsp:cNvSpPr/>
      </dsp:nvSpPr>
      <dsp:spPr>
        <a:xfrm>
          <a:off x="1129395" y="2422164"/>
          <a:ext cx="7173728" cy="484262"/>
        </a:xfrm>
        <a:prstGeom prst="rect">
          <a:avLst/>
        </a:prstGeom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4383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НИР №</a:t>
          </a:r>
          <a:r>
            <a:rPr lang="en-US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2</a:t>
          </a:r>
          <a:r>
            <a:rPr lang="ru-RU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  <a:sym typeface="Wingdings" panose="05000000000000000000" pitchFamily="2" charset="2"/>
            </a:rPr>
            <a:t></a:t>
          </a:r>
          <a:r>
            <a:rPr lang="en-US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  <a:sym typeface="Wingdings" panose="05000000000000000000" pitchFamily="2" charset="2"/>
            </a:rPr>
            <a:t> </a:t>
          </a:r>
          <a:r>
            <a:rPr lang="ru-RU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  <a:sym typeface="Wingdings" panose="05000000000000000000" pitchFamily="2" charset="2"/>
            </a:rPr>
            <a:t>Формирование единого биржевого пространства и централизация институтов учета и расчетов в рамках ТС и ЕЭП</a:t>
          </a:r>
          <a:r>
            <a:rPr lang="en-US" sz="1500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  <a:sym typeface="Wingdings" panose="05000000000000000000" pitchFamily="2" charset="2"/>
            </a:rPr>
            <a:t> </a:t>
          </a:r>
          <a:endParaRPr lang="ru-RU" sz="1500" strike="noStrike" kern="1200" dirty="0">
            <a:latin typeface="Book Antiqua" panose="02040602050305030304" pitchFamily="18" charset="0"/>
            <a:ea typeface="+mn-ea"/>
            <a:cs typeface="Times New Roman" panose="02020603050405020304" pitchFamily="18" charset="0"/>
          </a:endParaRPr>
        </a:p>
      </dsp:txBody>
      <dsp:txXfrm>
        <a:off x="1129395" y="2422164"/>
        <a:ext cx="7173728" cy="484262"/>
      </dsp:txXfrm>
    </dsp:sp>
    <dsp:sp modelId="{AC6BDA3C-9E68-4A39-8603-648565DF74B8}">
      <dsp:nvSpPr>
        <dsp:cNvPr id="0" name=""/>
        <dsp:cNvSpPr/>
      </dsp:nvSpPr>
      <dsp:spPr>
        <a:xfrm>
          <a:off x="826731" y="2361631"/>
          <a:ext cx="605328" cy="60532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25A57D5-528D-473D-81CA-ECEFB16122D4}">
      <dsp:nvSpPr>
        <dsp:cNvPr id="0" name=""/>
        <dsp:cNvSpPr/>
      </dsp:nvSpPr>
      <dsp:spPr>
        <a:xfrm>
          <a:off x="1052663" y="3148984"/>
          <a:ext cx="7250459" cy="484262"/>
        </a:xfrm>
        <a:prstGeom prst="rect">
          <a:avLst/>
        </a:prstGeom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4383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strike="noStrike" kern="1200" dirty="0" smtClean="0">
              <a:latin typeface="Book Antiqua" panose="02040602050305030304" pitchFamily="18" charset="0"/>
              <a:ea typeface="+mn-ea"/>
              <a:cs typeface="Times New Roman" panose="02020603050405020304" pitchFamily="18" charset="0"/>
            </a:rPr>
            <a:t>Концепция создания Наднационального органа по регулированию финансового рынка</a:t>
          </a:r>
          <a:endParaRPr lang="ru-RU" sz="1500" kern="1200" dirty="0">
            <a:latin typeface="Book Antiqua" panose="02040602050305030304" pitchFamily="18" charset="0"/>
          </a:endParaRPr>
        </a:p>
      </dsp:txBody>
      <dsp:txXfrm>
        <a:off x="1052663" y="3148984"/>
        <a:ext cx="7250459" cy="484262"/>
      </dsp:txXfrm>
    </dsp:sp>
    <dsp:sp modelId="{F7558642-4223-4246-995A-99D5EDE53ACC}">
      <dsp:nvSpPr>
        <dsp:cNvPr id="0" name=""/>
        <dsp:cNvSpPr/>
      </dsp:nvSpPr>
      <dsp:spPr>
        <a:xfrm>
          <a:off x="749999" y="3088451"/>
          <a:ext cx="605328" cy="60532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F4A7FF-13FA-4E02-904E-3878A6A38B97}">
      <dsp:nvSpPr>
        <dsp:cNvPr id="0" name=""/>
        <dsp:cNvSpPr/>
      </dsp:nvSpPr>
      <dsp:spPr>
        <a:xfrm>
          <a:off x="812343" y="3889644"/>
          <a:ext cx="7490779" cy="455516"/>
        </a:xfrm>
        <a:prstGeom prst="rect">
          <a:avLst/>
        </a:prstGeom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4383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latin typeface="Book Antiqua" panose="02040602050305030304" pitchFamily="18" charset="0"/>
            </a:rPr>
            <a:t>  Взаимный допуск брокеров и дилеров стран-участниц ТС и ЕЭП на национальные фондовые биржи   </a:t>
          </a:r>
          <a:endParaRPr lang="ru-RU" sz="1500" kern="1200" dirty="0">
            <a:latin typeface="Book Antiqua" panose="02040602050305030304" pitchFamily="18" charset="0"/>
          </a:endParaRPr>
        </a:p>
      </dsp:txBody>
      <dsp:txXfrm>
        <a:off x="812343" y="3889644"/>
        <a:ext cx="7490779" cy="455516"/>
      </dsp:txXfrm>
    </dsp:sp>
    <dsp:sp modelId="{2EF07631-7D69-4ECB-BFB3-63B703F263AC}">
      <dsp:nvSpPr>
        <dsp:cNvPr id="0" name=""/>
        <dsp:cNvSpPr/>
      </dsp:nvSpPr>
      <dsp:spPr>
        <a:xfrm>
          <a:off x="504056" y="3770310"/>
          <a:ext cx="616575" cy="69418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3CC9A5-1A17-41C1-9014-F1BD397FE09D}">
      <dsp:nvSpPr>
        <dsp:cNvPr id="0" name=""/>
        <dsp:cNvSpPr/>
      </dsp:nvSpPr>
      <dsp:spPr>
        <a:xfrm>
          <a:off x="373800" y="4602091"/>
          <a:ext cx="7929322" cy="484262"/>
        </a:xfrm>
        <a:prstGeom prst="rect">
          <a:avLst/>
        </a:prstGeom>
        <a:gradFill rotWithShape="0">
          <a:gsLst>
            <a:gs pos="85000">
              <a:srgbClr val="0099CC"/>
            </a:gs>
            <a:gs pos="40000">
              <a:srgbClr val="003399"/>
            </a:gs>
            <a:gs pos="99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4383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latin typeface="Book Antiqua" panose="02040602050305030304" pitchFamily="18" charset="0"/>
            </a:rPr>
            <a:t>Взаимное признание полисов ОСАГО странами-участницами ТС и ЕЭП</a:t>
          </a:r>
          <a:endParaRPr lang="ru-RU" sz="1500" kern="1200" dirty="0">
            <a:latin typeface="Book Antiqua" panose="02040602050305030304" pitchFamily="18" charset="0"/>
          </a:endParaRPr>
        </a:p>
      </dsp:txBody>
      <dsp:txXfrm>
        <a:off x="373800" y="4602091"/>
        <a:ext cx="7929322" cy="484262"/>
      </dsp:txXfrm>
    </dsp:sp>
    <dsp:sp modelId="{D38437C5-0A04-4CA5-B266-0BD93BBEFB7A}">
      <dsp:nvSpPr>
        <dsp:cNvPr id="0" name=""/>
        <dsp:cNvSpPr/>
      </dsp:nvSpPr>
      <dsp:spPr>
        <a:xfrm>
          <a:off x="71136" y="4541558"/>
          <a:ext cx="605328" cy="60532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4736" cy="496671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1400" y="1"/>
            <a:ext cx="2944736" cy="496671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65C1D9F0-EDFD-41FE-AAB2-B1679FF19A95}" type="datetimeFigureOut">
              <a:rPr lang="ru-RU"/>
              <a:pPr>
                <a:defRPr/>
              </a:pPr>
              <a:t>03.09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272"/>
            <a:ext cx="2944736" cy="49667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1400" y="9428272"/>
            <a:ext cx="2944736" cy="49667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A4C05615-5B54-467D-8F82-C0877547531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359843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4736" cy="496671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1400" y="1"/>
            <a:ext cx="2944736" cy="496671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F3EB73A9-6FD8-44B4-9960-AB24B1A8BA48}" type="datetimeFigureOut">
              <a:rPr lang="ru-RU"/>
              <a:pPr>
                <a:defRPr/>
              </a:pPr>
              <a:t>03.09.201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384" y="4715832"/>
            <a:ext cx="5436909" cy="446664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272"/>
            <a:ext cx="2944736" cy="49667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1400" y="9428272"/>
            <a:ext cx="2944736" cy="49667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3B959D9C-0ED9-43EF-9901-2F42EFA204B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853344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638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0D7D850-71DC-4929-BDB4-8334DDC393FF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3120">
              <a:defRPr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диаграмме приведены данные по общему количеству банков работающих на рынках стран-участниц ЕЭП за период 2010-13гг.</a:t>
            </a:r>
          </a:p>
          <a:p>
            <a:pPr defTabSz="913120">
              <a:defRPr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чиная с 2009 года сделав выводы из уроков, которые преподнес мировой кризис, наблюдается усиление надзорных и регуляторных требований, как в глобальном масштабе, так и в банковских системах «Тройки», благодаря чему, прослеживается тренд снижения общего кол-ва кредитных организаций, в особенности в банковской системе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Ф.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общей сложности, на конец 2013 года, на страны ЕАЭС приходилось порядка 1000 банков, для сравнения на ЕС (ЕС-28), приходится порядка 2000 банков (Германия – 210, Италия – 159, Великобритания – 147, Франция - 17).</a:t>
            </a:r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913120">
              <a:defRPr/>
            </a:pPr>
            <a:endParaRPr lang="ru-RU" dirty="0"/>
          </a:p>
          <a:p>
            <a:endParaRPr lang="en-US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3120">
              <a:defRPr/>
            </a:pPr>
            <a:endParaRPr lang="en-US" dirty="0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baseline="0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529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427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170930-FDF1-4C1A-B41D-243E944342A5}" type="datetimeFigureOut">
              <a:rPr lang="ru-RU"/>
              <a:pPr>
                <a:defRPr/>
              </a:pPr>
              <a:t>03.09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AC8E7A-0BB7-4643-A802-4AAA9A67300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46CB88-CC21-47DB-AEC4-AD854320B62B}" type="datetimeFigureOut">
              <a:rPr lang="ru-RU"/>
              <a:pPr>
                <a:defRPr/>
              </a:pPr>
              <a:t>03.09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C120E2-77EC-4554-9678-A2415D066A5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C9373A-C542-41C1-B3C4-4247B6B215A0}" type="datetimeFigureOut">
              <a:rPr lang="ru-RU"/>
              <a:pPr>
                <a:defRPr/>
              </a:pPr>
              <a:t>03.09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2A8CD4-BC8B-4F07-B33E-B1E90F8E9B0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1294EF-D940-4BFC-BD89-6B763E8C09F1}" type="datetimeFigureOut">
              <a:rPr lang="ru-RU"/>
              <a:pPr>
                <a:defRPr/>
              </a:pPr>
              <a:t>03.09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FFA8DD-F597-46F7-BCAD-6B32E1209D8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8788DF-309D-47C0-9939-759378F41945}" type="datetimeFigureOut">
              <a:rPr lang="ru-RU"/>
              <a:pPr>
                <a:defRPr/>
              </a:pPr>
              <a:t>03.09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F35BC2-521B-4230-A296-647B884BF40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EF25D3-6920-41C3-A508-61FB303E186D}" type="datetimeFigureOut">
              <a:rPr lang="ru-RU"/>
              <a:pPr>
                <a:defRPr/>
              </a:pPr>
              <a:t>03.09.2014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8F235D-7741-4F98-8C48-35E67C9E75A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EFF5C9-2220-41BB-A28C-E77045B0D7C5}" type="datetimeFigureOut">
              <a:rPr lang="ru-RU"/>
              <a:pPr>
                <a:defRPr/>
              </a:pPr>
              <a:t>03.09.2014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B3CA5F-3BD4-4639-8DC1-DC188B828D6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4C7D0D-889B-47CB-AA3E-4B5457B1BADE}" type="datetimeFigureOut">
              <a:rPr lang="ru-RU"/>
              <a:pPr>
                <a:defRPr/>
              </a:pPr>
              <a:t>03.09.2014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1115D1-4171-40D8-AA8B-826DD617475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385DA-0A95-473D-9B01-C546C3322C26}" type="datetimeFigureOut">
              <a:rPr lang="ru-RU"/>
              <a:pPr>
                <a:defRPr/>
              </a:pPr>
              <a:t>03.09.2014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57D652-07F8-4BD4-849D-DB9E588C05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8CD1DE-3B64-4503-B3ED-F72403B02EB0}" type="datetimeFigureOut">
              <a:rPr lang="ru-RU"/>
              <a:pPr>
                <a:defRPr/>
              </a:pPr>
              <a:t>03.09.2014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B7779F-8D15-4021-84BE-A7A8749B8B8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2132B0-2179-4044-B801-ADD3D742B51F}" type="datetimeFigureOut">
              <a:rPr lang="ru-RU"/>
              <a:pPr>
                <a:defRPr/>
              </a:pPr>
              <a:t>03.09.2014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7E58FB-B0CF-41CF-B595-1E5FE8312CD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CF1E153-BD26-4A1A-8CDE-A6296317BB98}" type="datetimeFigureOut">
              <a:rPr lang="ru-RU"/>
              <a:pPr>
                <a:defRPr/>
              </a:pPr>
              <a:t>03.09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49CB543-4FA6-47C5-A4FB-5179E4DA35C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96" y="116632"/>
            <a:ext cx="9089107" cy="6732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2571265" y="476672"/>
            <a:ext cx="6118983" cy="110799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ru-RU" sz="3300" b="1" spc="50" dirty="0" smtClean="0">
                <a:ln w="11430"/>
                <a:solidFill>
                  <a:schemeClr val="bg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Общий финансовый рынок</a:t>
            </a:r>
          </a:p>
          <a:p>
            <a:pPr algn="ctr"/>
            <a:r>
              <a:rPr lang="ru-RU" sz="3300" b="1" cap="none" spc="50" dirty="0" smtClean="0">
                <a:ln w="11430"/>
                <a:solidFill>
                  <a:schemeClr val="bg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ЕАЭС</a:t>
            </a:r>
            <a:endParaRPr lang="ru-RU" sz="3300" b="1" cap="none" spc="50" dirty="0">
              <a:ln w="11430"/>
              <a:solidFill>
                <a:schemeClr val="bg1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955793" y="1622482"/>
            <a:ext cx="6168810" cy="10618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ru-RU" sz="2100" b="1" spc="50" dirty="0" smtClean="0">
                <a:ln w="11430"/>
                <a:solidFill>
                  <a:srgbClr val="003399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     </a:t>
            </a:r>
            <a:r>
              <a:rPr lang="en-US" sz="2100" b="1" spc="50" dirty="0" smtClean="0">
                <a:ln w="11430"/>
                <a:solidFill>
                  <a:srgbClr val="003399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XII </a:t>
            </a:r>
            <a:r>
              <a:rPr lang="ru-RU" sz="2100" b="1" spc="50" dirty="0" smtClean="0">
                <a:ln w="11430"/>
                <a:solidFill>
                  <a:srgbClr val="003399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Международный банковский форум         </a:t>
            </a:r>
          </a:p>
          <a:p>
            <a:pPr algn="ctr"/>
            <a:r>
              <a:rPr lang="ru-RU" sz="2100" b="1" spc="50" dirty="0" smtClean="0">
                <a:ln w="11430"/>
                <a:solidFill>
                  <a:srgbClr val="003399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                             «Банки России – </a:t>
            </a:r>
            <a:r>
              <a:rPr lang="en-US" sz="2100" b="1" spc="50" dirty="0" smtClean="0">
                <a:ln w="11430"/>
                <a:solidFill>
                  <a:srgbClr val="003399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XXI </a:t>
            </a:r>
            <a:r>
              <a:rPr lang="ru-RU" sz="2100" b="1" spc="50" dirty="0" smtClean="0">
                <a:ln w="11430"/>
                <a:solidFill>
                  <a:srgbClr val="003399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Век»</a:t>
            </a:r>
          </a:p>
          <a:p>
            <a:pPr algn="ctr"/>
            <a:r>
              <a:rPr lang="ru-RU" sz="2100" b="1" cap="none" spc="50" dirty="0" smtClean="0">
                <a:ln w="11430"/>
                <a:solidFill>
                  <a:srgbClr val="003399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                                                        Сочи 2014</a:t>
            </a:r>
            <a:endParaRPr lang="ru-RU" sz="2100" b="1" cap="none" spc="50" dirty="0">
              <a:ln w="11430"/>
              <a:solidFill>
                <a:srgbClr val="003399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4893" y="54204"/>
            <a:ext cx="2428875" cy="140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6"/>
          <p:cNvSpPr>
            <a:spLocks noChangeArrowheads="1"/>
          </p:cNvSpPr>
          <p:nvPr/>
        </p:nvSpPr>
        <p:spPr bwMode="auto">
          <a:xfrm>
            <a:off x="6756002" y="5229200"/>
            <a:ext cx="2424510" cy="138499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21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Т.М.Сулейменов</a:t>
            </a:r>
          </a:p>
          <a:p>
            <a:pPr eaLnBrk="1" hangingPunct="1"/>
            <a:r>
              <a:rPr lang="ru-RU" altLang="ru-RU" sz="21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Евразийская</a:t>
            </a:r>
          </a:p>
          <a:p>
            <a:pPr eaLnBrk="1" hangingPunct="1"/>
            <a:r>
              <a:rPr lang="ru-RU" altLang="ru-RU" sz="21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экономическая </a:t>
            </a:r>
          </a:p>
          <a:p>
            <a:pPr eaLnBrk="1" hangingPunct="1"/>
            <a:r>
              <a:rPr lang="ru-RU" altLang="ru-RU" sz="21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комиссия</a:t>
            </a:r>
            <a:r>
              <a:rPr lang="ru-RU" altLang="ru-RU" sz="1600" b="1" dirty="0" smtClean="0">
                <a:solidFill>
                  <a:srgbClr val="003399"/>
                </a:solidFill>
                <a:latin typeface="Book Antiqua" panose="02040602050305030304" pitchFamily="18" charset="0"/>
              </a:rPr>
              <a:t>               </a:t>
            </a:r>
            <a:r>
              <a:rPr lang="en-US" altLang="ru-RU" sz="1600" b="1" dirty="0" smtClean="0">
                <a:solidFill>
                  <a:srgbClr val="003399"/>
                </a:solidFill>
                <a:latin typeface="Book Antiqua" panose="02040602050305030304" pitchFamily="18" charset="0"/>
              </a:rPr>
              <a:t> </a:t>
            </a:r>
            <a:endParaRPr lang="ru-RU" altLang="ru-RU" sz="1600" b="1" dirty="0" smtClean="0">
              <a:solidFill>
                <a:srgbClr val="3366CC"/>
              </a:solidFill>
              <a:latin typeface="Baskerville Old Face" panose="02020602080505020303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123380136"/>
              </p:ext>
            </p:extLst>
          </p:nvPr>
        </p:nvGraphicFramePr>
        <p:xfrm>
          <a:off x="6729307" y="5308954"/>
          <a:ext cx="2318994" cy="1225485"/>
        </p:xfrm>
        <a:graphic>
          <a:graphicData uri="http://schemas.openxmlformats.org/drawingml/2006/table">
            <a:tbl>
              <a:tblPr/>
              <a:tblGrid>
                <a:gridCol w="2318994"/>
              </a:tblGrid>
              <a:tr h="122548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AutoShape 28"/>
          <p:cNvSpPr>
            <a:spLocks noChangeArrowheads="1"/>
          </p:cNvSpPr>
          <p:nvPr/>
        </p:nvSpPr>
        <p:spPr bwMode="auto">
          <a:xfrm>
            <a:off x="227506" y="665702"/>
            <a:ext cx="8900408" cy="5998616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  <a:alpha val="86000"/>
            </a:schemeClr>
          </a:solidFill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lIns="91429" tIns="45714" rIns="91429" bIns="45714" anchor="ctr"/>
          <a:lstStyle/>
          <a:p>
            <a:pPr algn="ctr" defTabSz="914257"/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0" y="12618"/>
            <a:ext cx="9144000" cy="692696"/>
          </a:xfrm>
          <a:prstGeom prst="rect">
            <a:avLst/>
          </a:prstGeom>
          <a:solidFill>
            <a:srgbClr val="006699"/>
          </a:solidFill>
          <a:scene3d>
            <a:camera prst="orthographicFront"/>
            <a:lightRig rig="threePt" dir="t"/>
          </a:scene3d>
          <a:sp3d>
            <a:bevelT w="825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7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     ИНФРАСТРУКТУРА ФИНАНСОВОГО РЫНКА </a:t>
            </a:r>
            <a:endParaRPr lang="ru-RU" sz="17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15816" y="3573016"/>
            <a:ext cx="4043131" cy="2895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7" name="Соединительная линия уступом 26"/>
          <p:cNvCxnSpPr>
            <a:stCxn id="28" idx="2"/>
          </p:cNvCxnSpPr>
          <p:nvPr/>
        </p:nvCxnSpPr>
        <p:spPr>
          <a:xfrm rot="16200000" flipH="1">
            <a:off x="1847641" y="5142050"/>
            <a:ext cx="344498" cy="1791856"/>
          </a:xfrm>
          <a:prstGeom prst="bentConnector2">
            <a:avLst/>
          </a:prstGeom>
          <a:ln w="73025">
            <a:solidFill>
              <a:srgbClr val="0099CC">
                <a:alpha val="42000"/>
              </a:srgbClr>
            </a:solidFill>
            <a:tailEnd type="triangle"/>
          </a:ln>
          <a:scene3d>
            <a:camera prst="orthographicFront"/>
            <a:lightRig rig="threePt" dir="t"/>
          </a:scene3d>
          <a:sp3d>
            <a:bevelT w="19050"/>
            <a:bevelB w="9525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Таблица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338645319"/>
              </p:ext>
            </p:extLst>
          </p:nvPr>
        </p:nvGraphicFramePr>
        <p:xfrm>
          <a:off x="367878" y="3853987"/>
          <a:ext cx="1512168" cy="201174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512168"/>
              </a:tblGrid>
              <a:tr h="792088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Возмещение банковских вкладов (депозитов) физическим лицам</a:t>
                      </a:r>
                      <a:r>
                        <a:rPr lang="ru-RU" sz="1400" baseline="0" dirty="0" smtClean="0">
                          <a:latin typeface="Book Antiqua" panose="02040602050305030304" pitchFamily="18" charset="0"/>
                        </a:rPr>
                        <a:t> в рамках</a:t>
                      </a:r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 Системы страхования</a:t>
                      </a:r>
                      <a:r>
                        <a:rPr lang="ru-RU" sz="1400" baseline="0" dirty="0" smtClean="0">
                          <a:latin typeface="Book Antiqua" panose="02040602050305030304" pitchFamily="18" charset="0"/>
                        </a:rPr>
                        <a:t> вкладов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 marL="91491" marR="91491" marT="45751" marB="45751"/>
                </a:tc>
              </a:tr>
            </a:tbl>
          </a:graphicData>
        </a:graphic>
      </p:graphicFrame>
      <p:cxnSp>
        <p:nvCxnSpPr>
          <p:cNvPr id="40" name="Соединительная линия уступом 39"/>
          <p:cNvCxnSpPr>
            <a:stCxn id="28" idx="0"/>
          </p:cNvCxnSpPr>
          <p:nvPr/>
        </p:nvCxnSpPr>
        <p:spPr>
          <a:xfrm rot="5400000" flipH="1" flipV="1">
            <a:off x="1029923" y="3451036"/>
            <a:ext cx="496991" cy="308912"/>
          </a:xfrm>
          <a:prstGeom prst="bentConnector3">
            <a:avLst>
              <a:gd name="adj1" fmla="val 97419"/>
            </a:avLst>
          </a:prstGeom>
          <a:ln w="73025">
            <a:solidFill>
              <a:srgbClr val="0099CC">
                <a:alpha val="42000"/>
              </a:srgbClr>
            </a:solidFill>
            <a:tailEnd type="none"/>
          </a:ln>
          <a:scene3d>
            <a:camera prst="orthographicFront"/>
            <a:lightRig rig="threePt" dir="t"/>
          </a:scene3d>
          <a:sp3d>
            <a:bevelT w="19050"/>
            <a:bevelB w="9525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AutoShape 111"/>
          <p:cNvSpPr>
            <a:spLocks noChangeArrowheads="1"/>
          </p:cNvSpPr>
          <p:nvPr/>
        </p:nvSpPr>
        <p:spPr bwMode="auto">
          <a:xfrm>
            <a:off x="8575104" y="652462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10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38" name="AutoShape 111"/>
          <p:cNvSpPr>
            <a:spLocks noChangeArrowheads="1"/>
          </p:cNvSpPr>
          <p:nvPr/>
        </p:nvSpPr>
        <p:spPr bwMode="auto">
          <a:xfrm>
            <a:off x="8103782" y="652204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39" name="AutoShape 111"/>
          <p:cNvSpPr>
            <a:spLocks noChangeArrowheads="1"/>
          </p:cNvSpPr>
          <p:nvPr/>
        </p:nvSpPr>
        <p:spPr bwMode="auto">
          <a:xfrm>
            <a:off x="7629070" y="652276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43825" y="716930"/>
            <a:ext cx="6882715" cy="2874391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B w="0"/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1432874" y="725864"/>
          <a:ext cx="6919274" cy="2865748"/>
        </p:xfrm>
        <a:graphic>
          <a:graphicData uri="http://schemas.openxmlformats.org/drawingml/2006/table">
            <a:tbl>
              <a:tblPr/>
              <a:tblGrid>
                <a:gridCol w="6919274"/>
              </a:tblGrid>
              <a:tr h="2865748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2912882" y="3601039"/>
          <a:ext cx="4044099" cy="2865749"/>
        </p:xfrm>
        <a:graphic>
          <a:graphicData uri="http://schemas.openxmlformats.org/drawingml/2006/table">
            <a:tbl>
              <a:tblPr/>
              <a:tblGrid>
                <a:gridCol w="4044099"/>
              </a:tblGrid>
              <a:tr h="2865749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041233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AutoShape 28"/>
          <p:cNvSpPr>
            <a:spLocks noChangeArrowheads="1"/>
          </p:cNvSpPr>
          <p:nvPr/>
        </p:nvSpPr>
        <p:spPr bwMode="auto">
          <a:xfrm>
            <a:off x="208096" y="639145"/>
            <a:ext cx="8900408" cy="5998616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  <a:alpha val="86000"/>
            </a:schemeClr>
          </a:solidFill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lIns="91429" tIns="45714" rIns="91429" bIns="45714" anchor="ctr"/>
          <a:lstStyle/>
          <a:p>
            <a:pPr algn="ctr" defTabSz="914257"/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0" y="12617"/>
            <a:ext cx="9144000" cy="680079"/>
          </a:xfrm>
          <a:prstGeom prst="rect">
            <a:avLst/>
          </a:prstGeom>
          <a:solidFill>
            <a:srgbClr val="006699"/>
          </a:solidFill>
          <a:scene3d>
            <a:camera prst="orthographicFront"/>
            <a:lightRig rig="threePt" dir="t"/>
          </a:scene3d>
          <a:sp3d>
            <a:bevelT w="825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7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         </a:t>
            </a:r>
            <a:r>
              <a:rPr lang="en-US" sz="17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 </a:t>
            </a:r>
            <a:r>
              <a:rPr lang="ru-RU" sz="17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СТАТИСТИКА ФИНАНСОВОГО РЫНКА</a:t>
            </a:r>
            <a:endParaRPr lang="ru-RU" sz="17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95736" y="692696"/>
            <a:ext cx="6014386" cy="357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96446" y="4293096"/>
            <a:ext cx="3075592" cy="2344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00192" y="4690098"/>
            <a:ext cx="1502416" cy="1550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79994213"/>
              </p:ext>
            </p:extLst>
          </p:nvPr>
        </p:nvGraphicFramePr>
        <p:xfrm>
          <a:off x="6278402" y="4673576"/>
          <a:ext cx="1545996" cy="1583703"/>
        </p:xfrm>
        <a:graphic>
          <a:graphicData uri="http://schemas.openxmlformats.org/drawingml/2006/table">
            <a:tbl>
              <a:tblPr/>
              <a:tblGrid>
                <a:gridCol w="1545996"/>
              </a:tblGrid>
              <a:tr h="1583703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  <a:gradFill>
                      <a:gsLst>
                        <a:gs pos="0">
                          <a:schemeClr val="bg1">
                            <a:lumMod val="85000"/>
                            <a:alpha val="0"/>
                          </a:schemeClr>
                        </a:gs>
                        <a:gs pos="100000">
                          <a:srgbClr val="0099CC"/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  <p:cxnSp>
        <p:nvCxnSpPr>
          <p:cNvPr id="24" name="Соединительная линия уступом 23"/>
          <p:cNvCxnSpPr>
            <a:stCxn id="25" idx="2"/>
          </p:cNvCxnSpPr>
          <p:nvPr/>
        </p:nvCxnSpPr>
        <p:spPr>
          <a:xfrm rot="16200000" flipH="1">
            <a:off x="1559996" y="1655297"/>
            <a:ext cx="274140" cy="1013663"/>
          </a:xfrm>
          <a:prstGeom prst="bentConnector2">
            <a:avLst/>
          </a:prstGeom>
          <a:ln w="73025">
            <a:solidFill>
              <a:srgbClr val="0099CC">
                <a:alpha val="42000"/>
              </a:srgbClr>
            </a:solidFill>
            <a:tailEnd type="triangle"/>
          </a:ln>
          <a:scene3d>
            <a:camera prst="orthographicFront"/>
            <a:lightRig rig="threePt" dir="t"/>
          </a:scene3d>
          <a:sp3d>
            <a:bevelT w="19050"/>
            <a:bevelB w="9525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145532743"/>
              </p:ext>
            </p:extLst>
          </p:nvPr>
        </p:nvGraphicFramePr>
        <p:xfrm>
          <a:off x="434151" y="1376987"/>
          <a:ext cx="1512168" cy="648072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512168"/>
              </a:tblGrid>
              <a:tr h="648072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Количество БАНКОВ (ед.)</a:t>
                      </a:r>
                      <a:endParaRPr lang="ru-RU" sz="14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 marL="91491" marR="91491" marT="45751" marB="45751"/>
                </a:tc>
              </a:tr>
            </a:tbl>
          </a:graphicData>
        </a:graphic>
      </p:graphicFrame>
      <p:cxnSp>
        <p:nvCxnSpPr>
          <p:cNvPr id="31" name="Соединительная линия уступом 30"/>
          <p:cNvCxnSpPr>
            <a:stCxn id="32" idx="2"/>
          </p:cNvCxnSpPr>
          <p:nvPr/>
        </p:nvCxnSpPr>
        <p:spPr>
          <a:xfrm rot="16200000" flipH="1">
            <a:off x="1487470" y="5304860"/>
            <a:ext cx="397892" cy="1034964"/>
          </a:xfrm>
          <a:prstGeom prst="bentConnector2">
            <a:avLst/>
          </a:prstGeom>
          <a:ln w="73025">
            <a:solidFill>
              <a:srgbClr val="0099CC">
                <a:alpha val="42000"/>
              </a:srgbClr>
            </a:solidFill>
            <a:tailEnd type="triangle"/>
          </a:ln>
          <a:scene3d>
            <a:camera prst="orthographicFront"/>
            <a:lightRig rig="threePt" dir="t"/>
          </a:scene3d>
          <a:sp3d>
            <a:bevelT w="19050"/>
            <a:bevelB w="9525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Таблица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934436910"/>
              </p:ext>
            </p:extLst>
          </p:nvPr>
        </p:nvGraphicFramePr>
        <p:xfrm>
          <a:off x="430164" y="4465094"/>
          <a:ext cx="1477540" cy="115830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77540"/>
              </a:tblGrid>
              <a:tr h="1008112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Уд. веса кол-ва БАНКОВ (%)  РБ, РК, РФ в ЕАЭС</a:t>
                      </a:r>
                      <a:r>
                        <a:rPr lang="en-US" sz="1400" dirty="0" smtClean="0">
                          <a:latin typeface="Book Antiqua" panose="02040602050305030304" pitchFamily="18" charset="0"/>
                        </a:rPr>
                        <a:t> (</a:t>
                      </a:r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на конец</a:t>
                      </a:r>
                      <a:r>
                        <a:rPr lang="ru-RU" sz="1400" baseline="0" dirty="0" smtClean="0">
                          <a:latin typeface="Book Antiqua" panose="02040602050305030304" pitchFamily="18" charset="0"/>
                        </a:rPr>
                        <a:t> 2013</a:t>
                      </a:r>
                      <a:r>
                        <a:rPr lang="en-US" sz="1400" dirty="0" smtClean="0">
                          <a:latin typeface="Book Antiqua" panose="02040602050305030304" pitchFamily="18" charset="0"/>
                        </a:rPr>
                        <a:t>)</a:t>
                      </a:r>
                      <a:endParaRPr lang="ru-RU" sz="14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 marL="91491" marR="91491" marT="45751" marB="45751"/>
                </a:tc>
              </a:tr>
            </a:tbl>
          </a:graphicData>
        </a:graphic>
      </p:graphicFrame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2196445" y="688157"/>
          <a:ext cx="6014301" cy="3553905"/>
        </p:xfrm>
        <a:graphic>
          <a:graphicData uri="http://schemas.openxmlformats.org/drawingml/2006/table">
            <a:tbl>
              <a:tblPr/>
              <a:tblGrid>
                <a:gridCol w="6014301"/>
              </a:tblGrid>
              <a:tr h="355390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710155150"/>
              </p:ext>
            </p:extLst>
          </p:nvPr>
        </p:nvGraphicFramePr>
        <p:xfrm>
          <a:off x="2196446" y="4262206"/>
          <a:ext cx="3091992" cy="2375555"/>
        </p:xfrm>
        <a:graphic>
          <a:graphicData uri="http://schemas.openxmlformats.org/drawingml/2006/table">
            <a:tbl>
              <a:tblPr/>
              <a:tblGrid>
                <a:gridCol w="3091992"/>
              </a:tblGrid>
              <a:tr h="237555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20" name="AutoShape 111"/>
          <p:cNvSpPr>
            <a:spLocks noChangeArrowheads="1"/>
          </p:cNvSpPr>
          <p:nvPr/>
        </p:nvSpPr>
        <p:spPr bwMode="auto">
          <a:xfrm>
            <a:off x="8575104" y="652462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11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28" name="AutoShape 111"/>
          <p:cNvSpPr>
            <a:spLocks noChangeArrowheads="1"/>
          </p:cNvSpPr>
          <p:nvPr/>
        </p:nvSpPr>
        <p:spPr bwMode="auto">
          <a:xfrm>
            <a:off x="8103782" y="652204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29" name="AutoShape 111"/>
          <p:cNvSpPr>
            <a:spLocks noChangeArrowheads="1"/>
          </p:cNvSpPr>
          <p:nvPr/>
        </p:nvSpPr>
        <p:spPr bwMode="auto">
          <a:xfrm>
            <a:off x="7629070" y="652276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46013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AutoShape 28"/>
          <p:cNvSpPr>
            <a:spLocks noChangeArrowheads="1"/>
          </p:cNvSpPr>
          <p:nvPr/>
        </p:nvSpPr>
        <p:spPr bwMode="auto">
          <a:xfrm>
            <a:off x="149241" y="652646"/>
            <a:ext cx="8900408" cy="5998616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  <a:alpha val="86000"/>
            </a:schemeClr>
          </a:solidFill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lIns="91429" tIns="45714" rIns="91429" bIns="45714" anchor="ctr"/>
          <a:lstStyle/>
          <a:p>
            <a:pPr algn="ctr" defTabSz="914257"/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0" y="12617"/>
            <a:ext cx="9144000" cy="680079"/>
          </a:xfrm>
          <a:prstGeom prst="rect">
            <a:avLst/>
          </a:prstGeom>
          <a:solidFill>
            <a:srgbClr val="006699"/>
          </a:solidFill>
          <a:scene3d>
            <a:camera prst="orthographicFront"/>
            <a:lightRig rig="threePt" dir="t"/>
          </a:scene3d>
          <a:sp3d>
            <a:bevelT w="825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7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r>
              <a:rPr lang="en-US" sz="17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  </a:t>
            </a:r>
            <a:r>
              <a:rPr lang="ru-RU" sz="17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СТАТИСТИКА </a:t>
            </a:r>
            <a:r>
              <a:rPr lang="ru-RU" sz="1700" b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ФИНАНСОВОГО РЫНКА </a:t>
            </a:r>
          </a:p>
        </p:txBody>
      </p:sp>
      <p:cxnSp>
        <p:nvCxnSpPr>
          <p:cNvPr id="24" name="Соединительная линия уступом 23"/>
          <p:cNvCxnSpPr>
            <a:stCxn id="25" idx="2"/>
          </p:cNvCxnSpPr>
          <p:nvPr/>
        </p:nvCxnSpPr>
        <p:spPr>
          <a:xfrm rot="16200000" flipH="1">
            <a:off x="1163425" y="2037461"/>
            <a:ext cx="217134" cy="839376"/>
          </a:xfrm>
          <a:prstGeom prst="bentConnector2">
            <a:avLst/>
          </a:prstGeom>
          <a:ln w="73025">
            <a:solidFill>
              <a:srgbClr val="0099CC">
                <a:alpha val="42000"/>
              </a:srgbClr>
            </a:solidFill>
            <a:tailEnd type="triangle"/>
          </a:ln>
          <a:scene3d>
            <a:camera prst="orthographicFront"/>
            <a:lightRig rig="threePt" dir="t"/>
          </a:scene3d>
          <a:sp3d>
            <a:bevelT w="19050"/>
            <a:bevelB w="9525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659374761"/>
              </p:ext>
            </p:extLst>
          </p:nvPr>
        </p:nvGraphicFramePr>
        <p:xfrm>
          <a:off x="122004" y="1190280"/>
          <a:ext cx="1460600" cy="115830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60600"/>
              </a:tblGrid>
              <a:tr h="1008112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Совокупные</a:t>
                      </a:r>
                      <a:r>
                        <a:rPr lang="ru-RU" sz="1400" baseline="0" dirty="0" smtClean="0">
                          <a:latin typeface="Book Antiqua" panose="02040602050305030304" pitchFamily="18" charset="0"/>
                        </a:rPr>
                        <a:t> активы</a:t>
                      </a:r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 БАНКОВ (млрд.</a:t>
                      </a:r>
                      <a:r>
                        <a:rPr lang="en-US" sz="1400" dirty="0" smtClean="0">
                          <a:latin typeface="Book Antiqua" panose="02040602050305030304" pitchFamily="18" charset="0"/>
                        </a:rPr>
                        <a:t>$</a:t>
                      </a:r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) в РБ, РК, РФ</a:t>
                      </a:r>
                      <a:endParaRPr lang="ru-RU" sz="14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 marL="91491" marR="91491" marT="45751" marB="45751"/>
                </a:tc>
              </a:tr>
            </a:tbl>
          </a:graphicData>
        </a:graphic>
      </p:graphicFrame>
      <p:cxnSp>
        <p:nvCxnSpPr>
          <p:cNvPr id="31" name="Соединительная линия уступом 30"/>
          <p:cNvCxnSpPr>
            <a:stCxn id="32" idx="2"/>
          </p:cNvCxnSpPr>
          <p:nvPr/>
        </p:nvCxnSpPr>
        <p:spPr>
          <a:xfrm rot="16200000" flipH="1">
            <a:off x="1069621" y="5231278"/>
            <a:ext cx="428676" cy="863310"/>
          </a:xfrm>
          <a:prstGeom prst="bentConnector2">
            <a:avLst/>
          </a:prstGeom>
          <a:ln w="73025">
            <a:solidFill>
              <a:srgbClr val="0099CC">
                <a:alpha val="42000"/>
              </a:srgbClr>
            </a:solidFill>
            <a:tailEnd type="triangle"/>
          </a:ln>
          <a:scene3d>
            <a:camera prst="orthographicFront"/>
            <a:lightRig rig="threePt" dir="t"/>
          </a:scene3d>
          <a:sp3d>
            <a:bevelT w="19050"/>
            <a:bevelB w="9525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Таблица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581363708"/>
              </p:ext>
            </p:extLst>
          </p:nvPr>
        </p:nvGraphicFramePr>
        <p:xfrm>
          <a:off x="122004" y="4076933"/>
          <a:ext cx="1460600" cy="137166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60600"/>
              </a:tblGrid>
              <a:tr h="1008112">
                <a:tc>
                  <a:txBody>
                    <a:bodyPr/>
                    <a:lstStyle/>
                    <a:p>
                      <a:r>
                        <a:rPr lang="ru-RU" sz="1400" baseline="0" dirty="0" smtClean="0">
                          <a:latin typeface="Book Antiqua" panose="02040602050305030304" pitchFamily="18" charset="0"/>
                        </a:rPr>
                        <a:t>Совокупные Активы</a:t>
                      </a:r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 БАНКОВ </a:t>
                      </a:r>
                      <a:r>
                        <a:rPr lang="ru-RU" sz="1400" baseline="0" dirty="0" smtClean="0">
                          <a:latin typeface="Book Antiqua" panose="02040602050305030304" pitchFamily="18" charset="0"/>
                        </a:rPr>
                        <a:t>РБ, РК, РФ </a:t>
                      </a:r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в сопоставлении с ВВП (%)</a:t>
                      </a:r>
                      <a:endParaRPr lang="ru-RU" sz="14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 marL="91491" marR="91491" marT="45751" marB="45751"/>
                </a:tc>
              </a:tr>
            </a:tbl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91680" y="685766"/>
            <a:ext cx="5257613" cy="3103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AutoShape 111"/>
          <p:cNvSpPr>
            <a:spLocks noChangeArrowheads="1"/>
          </p:cNvSpPr>
          <p:nvPr/>
        </p:nvSpPr>
        <p:spPr bwMode="auto">
          <a:xfrm>
            <a:off x="8575104" y="652462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12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28" name="AutoShape 111"/>
          <p:cNvSpPr>
            <a:spLocks noChangeArrowheads="1"/>
          </p:cNvSpPr>
          <p:nvPr/>
        </p:nvSpPr>
        <p:spPr bwMode="auto">
          <a:xfrm>
            <a:off x="8103782" y="652204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29" name="AutoShape 111"/>
          <p:cNvSpPr>
            <a:spLocks noChangeArrowheads="1"/>
          </p:cNvSpPr>
          <p:nvPr/>
        </p:nvSpPr>
        <p:spPr bwMode="auto">
          <a:xfrm>
            <a:off x="7629070" y="652276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91680" y="3757425"/>
            <a:ext cx="5236400" cy="2929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1677971" y="669303"/>
          <a:ext cx="5260157" cy="5986021"/>
        </p:xfrm>
        <a:graphic>
          <a:graphicData uri="http://schemas.openxmlformats.org/drawingml/2006/table">
            <a:tbl>
              <a:tblPr/>
              <a:tblGrid>
                <a:gridCol w="5260157"/>
              </a:tblGrid>
              <a:tr h="5986021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54866" y="2924944"/>
            <a:ext cx="2281630" cy="1858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6759019" y="2894029"/>
          <a:ext cx="2281286" cy="1885361"/>
        </p:xfrm>
        <a:graphic>
          <a:graphicData uri="http://schemas.openxmlformats.org/drawingml/2006/table">
            <a:tbl>
              <a:tblPr/>
              <a:tblGrid>
                <a:gridCol w="2281286"/>
              </a:tblGrid>
              <a:tr h="1885361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793341538"/>
              </p:ext>
            </p:extLst>
          </p:nvPr>
        </p:nvGraphicFramePr>
        <p:xfrm>
          <a:off x="7380312" y="1052736"/>
          <a:ext cx="1604616" cy="115830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604616"/>
              </a:tblGrid>
              <a:tr h="1008112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Уд. Веса активов</a:t>
                      </a:r>
                      <a:r>
                        <a:rPr lang="en-US" sz="1400" baseline="0" dirty="0" smtClean="0">
                          <a:latin typeface="Book Antiqua" panose="02040602050305030304" pitchFamily="18" charset="0"/>
                        </a:rPr>
                        <a:t> </a:t>
                      </a:r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БАНКОВ (%)  РБ, РК, РФ в ЕАЭС    </a:t>
                      </a:r>
                      <a:r>
                        <a:rPr lang="en-US" sz="1400" dirty="0" smtClean="0">
                          <a:latin typeface="Book Antiqua" panose="02040602050305030304" pitchFamily="18" charset="0"/>
                        </a:rPr>
                        <a:t> (</a:t>
                      </a:r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на конец </a:t>
                      </a:r>
                      <a:r>
                        <a:rPr lang="ru-RU" sz="1400" baseline="0" dirty="0" smtClean="0">
                          <a:latin typeface="Book Antiqua" panose="02040602050305030304" pitchFamily="18" charset="0"/>
                        </a:rPr>
                        <a:t>2013</a:t>
                      </a:r>
                      <a:r>
                        <a:rPr lang="en-US" sz="1400" dirty="0" smtClean="0">
                          <a:latin typeface="Book Antiqua" panose="02040602050305030304" pitchFamily="18" charset="0"/>
                        </a:rPr>
                        <a:t>)</a:t>
                      </a:r>
                      <a:endParaRPr lang="ru-RU" sz="14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 marL="91491" marR="91491" marT="45751" marB="45751"/>
                </a:tc>
              </a:tr>
            </a:tbl>
          </a:graphicData>
        </a:graphic>
      </p:graphicFrame>
      <p:cxnSp>
        <p:nvCxnSpPr>
          <p:cNvPr id="26" name="Соединительная линия уступом 25"/>
          <p:cNvCxnSpPr>
            <a:endCxn id="6" idx="0"/>
          </p:cNvCxnSpPr>
          <p:nvPr/>
        </p:nvCxnSpPr>
        <p:spPr>
          <a:xfrm rot="16200000" flipH="1">
            <a:off x="7569360" y="2563727"/>
            <a:ext cx="656624" cy="3979"/>
          </a:xfrm>
          <a:prstGeom prst="bentConnector3">
            <a:avLst>
              <a:gd name="adj1" fmla="val 50000"/>
            </a:avLst>
          </a:prstGeom>
          <a:ln w="73025">
            <a:solidFill>
              <a:srgbClr val="0099CC">
                <a:alpha val="42000"/>
              </a:srgbClr>
            </a:solidFill>
            <a:tailEnd type="triangle"/>
          </a:ln>
          <a:scene3d>
            <a:camera prst="orthographicFront"/>
            <a:lightRig rig="threePt" dir="t"/>
          </a:scene3d>
          <a:sp3d>
            <a:bevelT w="19050"/>
            <a:bevelB w="9525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063427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AutoShape 28"/>
          <p:cNvSpPr>
            <a:spLocks noChangeArrowheads="1"/>
          </p:cNvSpPr>
          <p:nvPr/>
        </p:nvSpPr>
        <p:spPr bwMode="auto">
          <a:xfrm>
            <a:off x="149241" y="652646"/>
            <a:ext cx="8900408" cy="5998616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  <a:alpha val="86000"/>
            </a:schemeClr>
          </a:solidFill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lIns="91429" tIns="45714" rIns="91429" bIns="45714" anchor="ctr"/>
          <a:lstStyle/>
          <a:p>
            <a:pPr algn="ctr" defTabSz="914257"/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0" y="12617"/>
            <a:ext cx="9144000" cy="680079"/>
          </a:xfrm>
          <a:prstGeom prst="rect">
            <a:avLst/>
          </a:prstGeom>
          <a:solidFill>
            <a:srgbClr val="006699"/>
          </a:solidFill>
          <a:scene3d>
            <a:camera prst="orthographicFront"/>
            <a:lightRig rig="threePt" dir="t"/>
          </a:scene3d>
          <a:sp3d>
            <a:bevelT w="825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7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         СТАТИСТИКА </a:t>
            </a:r>
            <a:r>
              <a:rPr lang="ru-RU" sz="1700" b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ФИНАНСОВОГО РЫНКА 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35478" y="2708920"/>
            <a:ext cx="1502416" cy="1550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843452377"/>
              </p:ext>
            </p:extLst>
          </p:nvPr>
        </p:nvGraphicFramePr>
        <p:xfrm>
          <a:off x="7422976" y="2708920"/>
          <a:ext cx="1545996" cy="1583703"/>
        </p:xfrm>
        <a:graphic>
          <a:graphicData uri="http://schemas.openxmlformats.org/drawingml/2006/table">
            <a:tbl>
              <a:tblPr/>
              <a:tblGrid>
                <a:gridCol w="1545996"/>
              </a:tblGrid>
              <a:tr h="1583703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  <a:gradFill>
                      <a:gsLst>
                        <a:gs pos="0">
                          <a:schemeClr val="bg1">
                            <a:lumMod val="85000"/>
                            <a:alpha val="0"/>
                          </a:schemeClr>
                        </a:gs>
                        <a:gs pos="100000">
                          <a:srgbClr val="0099CC"/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  <p:cxnSp>
        <p:nvCxnSpPr>
          <p:cNvPr id="24" name="Соединительная линия уступом 23"/>
          <p:cNvCxnSpPr>
            <a:stCxn id="25" idx="2"/>
          </p:cNvCxnSpPr>
          <p:nvPr/>
        </p:nvCxnSpPr>
        <p:spPr>
          <a:xfrm rot="16200000" flipH="1">
            <a:off x="1580026" y="2178530"/>
            <a:ext cx="161523" cy="1069902"/>
          </a:xfrm>
          <a:prstGeom prst="bentConnector2">
            <a:avLst/>
          </a:prstGeom>
          <a:ln w="73025">
            <a:solidFill>
              <a:srgbClr val="0099CC">
                <a:alpha val="42000"/>
              </a:srgbClr>
            </a:solidFill>
            <a:tailEnd type="triangle"/>
          </a:ln>
          <a:scene3d>
            <a:camera prst="orthographicFront"/>
            <a:lightRig rig="threePt" dir="t"/>
          </a:scene3d>
          <a:sp3d>
            <a:bevelT w="19050"/>
            <a:bevelB w="9525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599322306"/>
              </p:ext>
            </p:extLst>
          </p:nvPr>
        </p:nvGraphicFramePr>
        <p:xfrm>
          <a:off x="395536" y="1474418"/>
          <a:ext cx="1460600" cy="115830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60600"/>
              </a:tblGrid>
              <a:tr h="1008112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Совокупный</a:t>
                      </a:r>
                      <a:r>
                        <a:rPr lang="ru-RU" sz="1400" baseline="0" dirty="0" smtClean="0">
                          <a:latin typeface="Book Antiqua" panose="02040602050305030304" pitchFamily="18" charset="0"/>
                        </a:rPr>
                        <a:t> Капитал</a:t>
                      </a:r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 БАНКОВ (млрд.</a:t>
                      </a:r>
                      <a:r>
                        <a:rPr lang="en-US" sz="1400" dirty="0" smtClean="0">
                          <a:latin typeface="Book Antiqua" panose="02040602050305030304" pitchFamily="18" charset="0"/>
                        </a:rPr>
                        <a:t>$</a:t>
                      </a:r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) в РБ, РК, РФ</a:t>
                      </a:r>
                      <a:endParaRPr lang="ru-RU" sz="14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 marL="91491" marR="91491" marT="45751" marB="45751"/>
                </a:tc>
              </a:tr>
            </a:tbl>
          </a:graphicData>
        </a:graphic>
      </p:graphicFrame>
      <p:cxnSp>
        <p:nvCxnSpPr>
          <p:cNvPr id="31" name="Соединительная линия уступом 30"/>
          <p:cNvCxnSpPr>
            <a:stCxn id="32" idx="2"/>
          </p:cNvCxnSpPr>
          <p:nvPr/>
        </p:nvCxnSpPr>
        <p:spPr>
          <a:xfrm rot="16200000" flipH="1">
            <a:off x="1587213" y="4985703"/>
            <a:ext cx="203948" cy="1003126"/>
          </a:xfrm>
          <a:prstGeom prst="bentConnector2">
            <a:avLst/>
          </a:prstGeom>
          <a:ln w="73025">
            <a:solidFill>
              <a:srgbClr val="0099CC">
                <a:alpha val="42000"/>
              </a:srgbClr>
            </a:solidFill>
            <a:tailEnd type="triangle"/>
          </a:ln>
          <a:scene3d>
            <a:camera prst="orthographicFront"/>
            <a:lightRig rig="threePt" dir="t"/>
          </a:scene3d>
          <a:sp3d>
            <a:bevelT w="19050"/>
            <a:bevelB w="9525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Таблица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864786144"/>
              </p:ext>
            </p:extLst>
          </p:nvPr>
        </p:nvGraphicFramePr>
        <p:xfrm>
          <a:off x="395536" y="4150790"/>
          <a:ext cx="1584176" cy="123450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584176"/>
              </a:tblGrid>
              <a:tr h="1008112">
                <a:tc>
                  <a:txBody>
                    <a:bodyPr/>
                    <a:lstStyle/>
                    <a:p>
                      <a:r>
                        <a:rPr lang="ru-RU" sz="1500" dirty="0" smtClean="0">
                          <a:latin typeface="Book Antiqua" panose="02040602050305030304" pitchFamily="18" charset="0"/>
                        </a:rPr>
                        <a:t>Совокупные Обязательства</a:t>
                      </a:r>
                      <a:r>
                        <a:rPr lang="en-US" sz="1500" baseline="0" dirty="0" smtClean="0">
                          <a:latin typeface="Book Antiqua" panose="02040602050305030304" pitchFamily="18" charset="0"/>
                        </a:rPr>
                        <a:t> </a:t>
                      </a:r>
                      <a:r>
                        <a:rPr lang="ru-RU" sz="1500" dirty="0" smtClean="0">
                          <a:latin typeface="Book Antiqua" panose="02040602050305030304" pitchFamily="18" charset="0"/>
                        </a:rPr>
                        <a:t>БАНКОВ (млрд</a:t>
                      </a:r>
                      <a:r>
                        <a:rPr lang="en-US" sz="1500" dirty="0" smtClean="0">
                          <a:latin typeface="Book Antiqua" panose="02040602050305030304" pitchFamily="18" charset="0"/>
                        </a:rPr>
                        <a:t>.$</a:t>
                      </a:r>
                      <a:r>
                        <a:rPr lang="ru-RU" sz="1500" dirty="0" smtClean="0">
                          <a:latin typeface="Book Antiqua" panose="02040602050305030304" pitchFamily="18" charset="0"/>
                        </a:rPr>
                        <a:t>) в РБ, РК, РФ</a:t>
                      </a:r>
                      <a:endParaRPr lang="ru-RU" sz="15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 marL="91491" marR="91491" marT="45751" marB="45751"/>
                </a:tc>
              </a:tr>
            </a:tbl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95736" y="692697"/>
            <a:ext cx="5172346" cy="3024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90750" y="3602801"/>
            <a:ext cx="5189562" cy="3066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AutoShape 111"/>
          <p:cNvSpPr>
            <a:spLocks noChangeArrowheads="1"/>
          </p:cNvSpPr>
          <p:nvPr/>
        </p:nvSpPr>
        <p:spPr bwMode="auto">
          <a:xfrm>
            <a:off x="8575104" y="652462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13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27" name="AutoShape 111"/>
          <p:cNvSpPr>
            <a:spLocks noChangeArrowheads="1"/>
          </p:cNvSpPr>
          <p:nvPr/>
        </p:nvSpPr>
        <p:spPr bwMode="auto">
          <a:xfrm>
            <a:off x="8103782" y="652204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28" name="AutoShape 111"/>
          <p:cNvSpPr>
            <a:spLocks noChangeArrowheads="1"/>
          </p:cNvSpPr>
          <p:nvPr/>
        </p:nvSpPr>
        <p:spPr bwMode="auto">
          <a:xfrm>
            <a:off x="7629070" y="652276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11358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AutoShape 28"/>
          <p:cNvSpPr>
            <a:spLocks noChangeArrowheads="1"/>
          </p:cNvSpPr>
          <p:nvPr/>
        </p:nvSpPr>
        <p:spPr bwMode="auto">
          <a:xfrm>
            <a:off x="149241" y="652646"/>
            <a:ext cx="8900408" cy="5998616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  <a:alpha val="86000"/>
            </a:schemeClr>
          </a:solidFill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lIns="91429" tIns="45714" rIns="91429" bIns="45714" anchor="ctr"/>
          <a:lstStyle/>
          <a:p>
            <a:pPr algn="ctr" defTabSz="914257"/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0" y="12617"/>
            <a:ext cx="9144000" cy="680079"/>
          </a:xfrm>
          <a:prstGeom prst="rect">
            <a:avLst/>
          </a:prstGeom>
          <a:solidFill>
            <a:srgbClr val="006699"/>
          </a:solidFill>
          <a:scene3d>
            <a:camera prst="orthographicFront"/>
            <a:lightRig rig="threePt" dir="t"/>
          </a:scene3d>
          <a:sp3d>
            <a:bevelT w="825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7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     СТАТИСТИКА </a:t>
            </a:r>
            <a:r>
              <a:rPr lang="ru-RU" sz="1700" b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ФИНАНСОВОГО РЫНКА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56176" y="4598431"/>
            <a:ext cx="1502416" cy="1550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906892629"/>
              </p:ext>
            </p:extLst>
          </p:nvPr>
        </p:nvGraphicFramePr>
        <p:xfrm>
          <a:off x="6156176" y="4581909"/>
          <a:ext cx="1545996" cy="1583703"/>
        </p:xfrm>
        <a:graphic>
          <a:graphicData uri="http://schemas.openxmlformats.org/drawingml/2006/table">
            <a:tbl>
              <a:tblPr/>
              <a:tblGrid>
                <a:gridCol w="1545996"/>
              </a:tblGrid>
              <a:tr h="1583703">
                <a:tc>
                  <a:txBody>
                    <a:bodyPr/>
                    <a:lstStyle/>
                    <a:p>
                      <a:endParaRPr lang="ru-R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  <a:gradFill>
                      <a:gsLst>
                        <a:gs pos="0">
                          <a:schemeClr val="bg1">
                            <a:lumMod val="85000"/>
                            <a:alpha val="0"/>
                          </a:schemeClr>
                        </a:gs>
                        <a:gs pos="100000">
                          <a:srgbClr val="0099CC"/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  <p:cxnSp>
        <p:nvCxnSpPr>
          <p:cNvPr id="24" name="Соединительная линия уступом 23"/>
          <p:cNvCxnSpPr>
            <a:stCxn id="25" idx="2"/>
          </p:cNvCxnSpPr>
          <p:nvPr/>
        </p:nvCxnSpPr>
        <p:spPr>
          <a:xfrm rot="16200000" flipH="1">
            <a:off x="1566582" y="2089526"/>
            <a:ext cx="270575" cy="1003131"/>
          </a:xfrm>
          <a:prstGeom prst="bentConnector2">
            <a:avLst/>
          </a:prstGeom>
          <a:ln w="73025">
            <a:solidFill>
              <a:srgbClr val="0099CC">
                <a:alpha val="42000"/>
              </a:srgbClr>
            </a:solidFill>
            <a:tailEnd type="triangle"/>
          </a:ln>
          <a:scene3d>
            <a:camera prst="orthographicFront"/>
            <a:lightRig rig="threePt" dir="t"/>
          </a:scene3d>
          <a:sp3d>
            <a:bevelT w="19050"/>
            <a:bevelB w="9525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445329843"/>
              </p:ext>
            </p:extLst>
          </p:nvPr>
        </p:nvGraphicFramePr>
        <p:xfrm>
          <a:off x="408216" y="1447693"/>
          <a:ext cx="1584176" cy="100811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584176"/>
              </a:tblGrid>
              <a:tr h="1008112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Количество СТРАХОВЫХ организаций</a:t>
                      </a:r>
                      <a:r>
                        <a:rPr lang="ru-RU" sz="1400" baseline="0" dirty="0" smtClean="0">
                          <a:latin typeface="Book Antiqua" panose="02040602050305030304" pitchFamily="18" charset="0"/>
                        </a:rPr>
                        <a:t> </a:t>
                      </a:r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(ед.)</a:t>
                      </a:r>
                      <a:endParaRPr lang="ru-RU" sz="14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 marL="91491" marR="91491" marT="45751" marB="45751"/>
                </a:tc>
              </a:tr>
            </a:tbl>
          </a:graphicData>
        </a:graphic>
      </p:graphicFrame>
      <p:cxnSp>
        <p:nvCxnSpPr>
          <p:cNvPr id="31" name="Соединительная линия уступом 30"/>
          <p:cNvCxnSpPr>
            <a:stCxn id="32" idx="2"/>
          </p:cNvCxnSpPr>
          <p:nvPr/>
        </p:nvCxnSpPr>
        <p:spPr>
          <a:xfrm rot="16200000" flipH="1">
            <a:off x="1527506" y="5075415"/>
            <a:ext cx="323044" cy="1002809"/>
          </a:xfrm>
          <a:prstGeom prst="bentConnector2">
            <a:avLst/>
          </a:prstGeom>
          <a:ln w="73025">
            <a:solidFill>
              <a:srgbClr val="0099CC">
                <a:alpha val="42000"/>
              </a:srgbClr>
            </a:solidFill>
            <a:tailEnd type="triangle"/>
          </a:ln>
          <a:scene3d>
            <a:camera prst="orthographicFront"/>
            <a:lightRig rig="threePt" dir="t"/>
          </a:scene3d>
          <a:sp3d>
            <a:bevelT w="19050"/>
            <a:bevelB w="9525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Таблица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53716134"/>
              </p:ext>
            </p:extLst>
          </p:nvPr>
        </p:nvGraphicFramePr>
        <p:xfrm>
          <a:off x="335111" y="4256996"/>
          <a:ext cx="1705026" cy="115830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705026"/>
              </a:tblGrid>
              <a:tr h="1008112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Уд. веса кол-ва  СТРАХОВЫХ организаций (%)  РБ, РК, РФ в ЕАЭС</a:t>
                      </a:r>
                      <a:endParaRPr lang="ru-RU" sz="14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 marL="91491" marR="91491" marT="45751" marB="45751"/>
                </a:tc>
              </a:tr>
            </a:tbl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90752" y="727018"/>
            <a:ext cx="5848350" cy="345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90432" y="4211711"/>
            <a:ext cx="3219450" cy="232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2196445" y="707010"/>
          <a:ext cx="5844619" cy="3431357"/>
        </p:xfrm>
        <a:graphic>
          <a:graphicData uri="http://schemas.openxmlformats.org/drawingml/2006/table">
            <a:tbl>
              <a:tblPr/>
              <a:tblGrid>
                <a:gridCol w="5844619"/>
              </a:tblGrid>
              <a:tr h="3431357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814488006"/>
              </p:ext>
            </p:extLst>
          </p:nvPr>
        </p:nvGraphicFramePr>
        <p:xfrm>
          <a:off x="2190752" y="4197964"/>
          <a:ext cx="3242821" cy="2337847"/>
        </p:xfrm>
        <a:graphic>
          <a:graphicData uri="http://schemas.openxmlformats.org/drawingml/2006/table">
            <a:tbl>
              <a:tblPr/>
              <a:tblGrid>
                <a:gridCol w="3242821"/>
              </a:tblGrid>
              <a:tr h="2337847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27" name="AutoShape 111"/>
          <p:cNvSpPr>
            <a:spLocks noChangeArrowheads="1"/>
          </p:cNvSpPr>
          <p:nvPr/>
        </p:nvSpPr>
        <p:spPr bwMode="auto">
          <a:xfrm>
            <a:off x="8575104" y="652462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14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28" name="AutoShape 111"/>
          <p:cNvSpPr>
            <a:spLocks noChangeArrowheads="1"/>
          </p:cNvSpPr>
          <p:nvPr/>
        </p:nvSpPr>
        <p:spPr bwMode="auto">
          <a:xfrm>
            <a:off x="8103782" y="652204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29" name="AutoShape 111"/>
          <p:cNvSpPr>
            <a:spLocks noChangeArrowheads="1"/>
          </p:cNvSpPr>
          <p:nvPr/>
        </p:nvSpPr>
        <p:spPr bwMode="auto">
          <a:xfrm>
            <a:off x="7629070" y="652276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10579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AutoShape 28"/>
          <p:cNvSpPr>
            <a:spLocks noChangeArrowheads="1"/>
          </p:cNvSpPr>
          <p:nvPr/>
        </p:nvSpPr>
        <p:spPr bwMode="auto">
          <a:xfrm>
            <a:off x="149241" y="652646"/>
            <a:ext cx="8900408" cy="5998616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  <a:alpha val="86000"/>
            </a:schemeClr>
          </a:solidFill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lIns="91429" tIns="45714" rIns="91429" bIns="45714" anchor="ctr"/>
          <a:lstStyle/>
          <a:p>
            <a:pPr algn="ctr" defTabSz="914257"/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0" y="12617"/>
            <a:ext cx="9144000" cy="536063"/>
          </a:xfrm>
          <a:prstGeom prst="rect">
            <a:avLst/>
          </a:prstGeom>
          <a:solidFill>
            <a:srgbClr val="006699"/>
          </a:solidFill>
          <a:scene3d>
            <a:camera prst="orthographicFront"/>
            <a:lightRig rig="threePt" dir="t"/>
          </a:scene3d>
          <a:sp3d>
            <a:bevelT w="825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7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    СТАТИСТИКА </a:t>
            </a:r>
            <a:r>
              <a:rPr lang="ru-RU" sz="1700" b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ФИНАНСОВОГО РЫНКА </a:t>
            </a:r>
          </a:p>
        </p:txBody>
      </p:sp>
      <p:cxnSp>
        <p:nvCxnSpPr>
          <p:cNvPr id="24" name="Соединительная линия уступом 23"/>
          <p:cNvCxnSpPr>
            <a:stCxn id="25" idx="2"/>
          </p:cNvCxnSpPr>
          <p:nvPr/>
        </p:nvCxnSpPr>
        <p:spPr>
          <a:xfrm rot="16200000" flipH="1">
            <a:off x="1539552" y="2231036"/>
            <a:ext cx="323044" cy="1003127"/>
          </a:xfrm>
          <a:prstGeom prst="bentConnector2">
            <a:avLst/>
          </a:prstGeom>
          <a:ln w="73025">
            <a:solidFill>
              <a:srgbClr val="0099CC">
                <a:alpha val="42000"/>
              </a:srgbClr>
            </a:solidFill>
            <a:tailEnd type="triangle"/>
          </a:ln>
          <a:scene3d>
            <a:camera prst="orthographicFront"/>
            <a:lightRig rig="threePt" dir="t"/>
          </a:scene3d>
          <a:sp3d>
            <a:bevelT w="19050"/>
            <a:bevelB w="9525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975173109"/>
              </p:ext>
            </p:extLst>
          </p:nvPr>
        </p:nvGraphicFramePr>
        <p:xfrm>
          <a:off x="407423" y="1412776"/>
          <a:ext cx="1584176" cy="115830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584176"/>
              </a:tblGrid>
              <a:tr h="1008112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Сумма СТРАХОВЫХ премий за год (млн.</a:t>
                      </a:r>
                      <a:r>
                        <a:rPr lang="en-US" sz="1400" dirty="0" smtClean="0">
                          <a:latin typeface="Book Antiqua" panose="02040602050305030304" pitchFamily="18" charset="0"/>
                        </a:rPr>
                        <a:t>$</a:t>
                      </a:r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) в РБ, РК, РФ</a:t>
                      </a:r>
                      <a:endParaRPr lang="ru-RU" sz="14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 marL="91491" marR="91491" marT="45751" marB="45751"/>
                </a:tc>
              </a:tr>
            </a:tbl>
          </a:graphicData>
        </a:graphic>
      </p:graphicFrame>
      <p:cxnSp>
        <p:nvCxnSpPr>
          <p:cNvPr id="31" name="Соединительная линия уступом 30"/>
          <p:cNvCxnSpPr>
            <a:stCxn id="32" idx="2"/>
          </p:cNvCxnSpPr>
          <p:nvPr/>
        </p:nvCxnSpPr>
        <p:spPr>
          <a:xfrm rot="16200000" flipH="1">
            <a:off x="1524366" y="5175080"/>
            <a:ext cx="323046" cy="1019697"/>
          </a:xfrm>
          <a:prstGeom prst="bentConnector2">
            <a:avLst/>
          </a:prstGeom>
          <a:ln w="73025">
            <a:solidFill>
              <a:srgbClr val="0099CC">
                <a:alpha val="42000"/>
              </a:srgbClr>
            </a:solidFill>
            <a:tailEnd type="triangle"/>
          </a:ln>
          <a:scene3d>
            <a:camera prst="orthographicFront"/>
            <a:lightRig rig="threePt" dir="t"/>
          </a:scene3d>
          <a:sp3d>
            <a:bevelT w="19050"/>
            <a:bevelB w="9525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Таблица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029595515"/>
              </p:ext>
            </p:extLst>
          </p:nvPr>
        </p:nvGraphicFramePr>
        <p:xfrm>
          <a:off x="395536" y="4365104"/>
          <a:ext cx="1561010" cy="115830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561010"/>
              </a:tblGrid>
              <a:tr h="1008112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Сумма</a:t>
                      </a:r>
                      <a:r>
                        <a:rPr lang="ru-RU" sz="1400" baseline="0" dirty="0" smtClean="0">
                          <a:latin typeface="Book Antiqua" panose="02040602050305030304" pitchFamily="18" charset="0"/>
                        </a:rPr>
                        <a:t> </a:t>
                      </a:r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СТРАХОВЫХ выплат за год (млн.</a:t>
                      </a:r>
                      <a:r>
                        <a:rPr lang="en-US" sz="1400" dirty="0" smtClean="0">
                          <a:latin typeface="Book Antiqua" panose="02040602050305030304" pitchFamily="18" charset="0"/>
                        </a:rPr>
                        <a:t>$)</a:t>
                      </a:r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 в</a:t>
                      </a:r>
                      <a:r>
                        <a:rPr lang="ru-RU" sz="1400" baseline="0" dirty="0" smtClean="0">
                          <a:latin typeface="Book Antiqua" panose="02040602050305030304" pitchFamily="18" charset="0"/>
                        </a:rPr>
                        <a:t> </a:t>
                      </a:r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РБ, РК, РФ</a:t>
                      </a:r>
                      <a:endParaRPr lang="ru-RU" sz="14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 marL="91491" marR="91491" marT="45751" marB="45751"/>
                </a:tc>
              </a:tr>
            </a:tbl>
          </a:graphicData>
        </a:graphic>
      </p:graphicFrame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95736" y="548680"/>
            <a:ext cx="5354655" cy="3176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95736" y="3567658"/>
            <a:ext cx="5362175" cy="308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196445" y="556181"/>
          <a:ext cx="5344998" cy="6061435"/>
        </p:xfrm>
        <a:graphic>
          <a:graphicData uri="http://schemas.openxmlformats.org/drawingml/2006/table">
            <a:tbl>
              <a:tblPr/>
              <a:tblGrid>
                <a:gridCol w="5344998"/>
              </a:tblGrid>
              <a:tr h="606143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22" name="AutoShape 111"/>
          <p:cNvSpPr>
            <a:spLocks noChangeArrowheads="1"/>
          </p:cNvSpPr>
          <p:nvPr/>
        </p:nvSpPr>
        <p:spPr bwMode="auto">
          <a:xfrm>
            <a:off x="8575104" y="652462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15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23" name="AutoShape 111"/>
          <p:cNvSpPr>
            <a:spLocks noChangeArrowheads="1"/>
          </p:cNvSpPr>
          <p:nvPr/>
        </p:nvSpPr>
        <p:spPr bwMode="auto">
          <a:xfrm>
            <a:off x="8103782" y="652204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26" name="AutoShape 111"/>
          <p:cNvSpPr>
            <a:spLocks noChangeArrowheads="1"/>
          </p:cNvSpPr>
          <p:nvPr/>
        </p:nvSpPr>
        <p:spPr bwMode="auto">
          <a:xfrm>
            <a:off x="7629070" y="652276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81771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AutoShape 28"/>
          <p:cNvSpPr>
            <a:spLocks noChangeArrowheads="1"/>
          </p:cNvSpPr>
          <p:nvPr/>
        </p:nvSpPr>
        <p:spPr bwMode="auto">
          <a:xfrm>
            <a:off x="149241" y="652646"/>
            <a:ext cx="8900408" cy="6037016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  <a:alpha val="86000"/>
            </a:schemeClr>
          </a:solidFill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lIns="91429" tIns="45714" rIns="91429" bIns="45714" anchor="ctr"/>
          <a:lstStyle/>
          <a:p>
            <a:pPr algn="ctr" defTabSz="914257"/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0" y="12617"/>
            <a:ext cx="9144000" cy="680079"/>
          </a:xfrm>
          <a:prstGeom prst="rect">
            <a:avLst/>
          </a:prstGeom>
          <a:solidFill>
            <a:srgbClr val="006699"/>
          </a:solidFill>
          <a:scene3d>
            <a:camera prst="orthographicFront"/>
            <a:lightRig rig="threePt" dir="t"/>
          </a:scene3d>
          <a:sp3d>
            <a:bevelT w="825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7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          СТАТИСТИКА </a:t>
            </a:r>
            <a:r>
              <a:rPr lang="ru-RU" sz="1700" b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ФИНАНСОВОГО РЫНКА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65928" y="4656732"/>
            <a:ext cx="1502416" cy="1550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570166389"/>
              </p:ext>
            </p:extLst>
          </p:nvPr>
        </p:nvGraphicFramePr>
        <p:xfrm>
          <a:off x="6148162" y="4640210"/>
          <a:ext cx="1545996" cy="1583703"/>
        </p:xfrm>
        <a:graphic>
          <a:graphicData uri="http://schemas.openxmlformats.org/drawingml/2006/table">
            <a:tbl>
              <a:tblPr/>
              <a:tblGrid>
                <a:gridCol w="1545996"/>
              </a:tblGrid>
              <a:tr h="1583703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  <a:gradFill>
                      <a:gsLst>
                        <a:gs pos="0">
                          <a:schemeClr val="bg1">
                            <a:lumMod val="85000"/>
                            <a:alpha val="0"/>
                          </a:schemeClr>
                        </a:gs>
                        <a:gs pos="100000">
                          <a:srgbClr val="0099CC"/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  <p:cxnSp>
        <p:nvCxnSpPr>
          <p:cNvPr id="24" name="Соединительная линия уступом 23"/>
          <p:cNvCxnSpPr>
            <a:stCxn id="25" idx="2"/>
          </p:cNvCxnSpPr>
          <p:nvPr/>
        </p:nvCxnSpPr>
        <p:spPr>
          <a:xfrm rot="16200000" flipH="1">
            <a:off x="1485610" y="2113188"/>
            <a:ext cx="360039" cy="1028018"/>
          </a:xfrm>
          <a:prstGeom prst="bentConnector2">
            <a:avLst/>
          </a:prstGeom>
          <a:ln w="73025">
            <a:solidFill>
              <a:srgbClr val="0099CC">
                <a:alpha val="42000"/>
              </a:srgbClr>
            </a:solidFill>
            <a:tailEnd type="triangle"/>
          </a:ln>
          <a:scene3d>
            <a:camera prst="orthographicFront"/>
            <a:lightRig rig="threePt" dir="t"/>
          </a:scene3d>
          <a:sp3d>
            <a:bevelT w="19050"/>
            <a:bevelB w="9525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229536408"/>
              </p:ext>
            </p:extLst>
          </p:nvPr>
        </p:nvGraphicFramePr>
        <p:xfrm>
          <a:off x="395536" y="1439066"/>
          <a:ext cx="1512168" cy="100811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512168"/>
              </a:tblGrid>
              <a:tr h="1008112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Объем фондового рынка </a:t>
                      </a:r>
                    </a:p>
                    <a:p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(млрд.</a:t>
                      </a:r>
                      <a:r>
                        <a:rPr lang="en-US" sz="1400" dirty="0" smtClean="0">
                          <a:latin typeface="Book Antiqua" panose="02040602050305030304" pitchFamily="18" charset="0"/>
                        </a:rPr>
                        <a:t>$)</a:t>
                      </a:r>
                      <a:endParaRPr lang="ru-RU" sz="14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 marL="91491" marR="91491" marT="45751" marB="45751"/>
                </a:tc>
              </a:tr>
            </a:tbl>
          </a:graphicData>
        </a:graphic>
      </p:graphicFrame>
      <p:cxnSp>
        <p:nvCxnSpPr>
          <p:cNvPr id="31" name="Соединительная линия уступом 30"/>
          <p:cNvCxnSpPr>
            <a:stCxn id="32" idx="2"/>
          </p:cNvCxnSpPr>
          <p:nvPr/>
        </p:nvCxnSpPr>
        <p:spPr>
          <a:xfrm rot="16200000" flipH="1">
            <a:off x="1461974" y="5204339"/>
            <a:ext cx="407310" cy="1028018"/>
          </a:xfrm>
          <a:prstGeom prst="bentConnector2">
            <a:avLst/>
          </a:prstGeom>
          <a:ln w="73025">
            <a:solidFill>
              <a:srgbClr val="0099CC">
                <a:alpha val="42000"/>
              </a:srgbClr>
            </a:solidFill>
            <a:tailEnd type="triangle"/>
          </a:ln>
          <a:scene3d>
            <a:camera prst="orthographicFront"/>
            <a:lightRig rig="threePt" dir="t"/>
          </a:scene3d>
          <a:sp3d>
            <a:bevelT w="19050"/>
            <a:bevelB w="9525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Таблица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799520821"/>
              </p:ext>
            </p:extLst>
          </p:nvPr>
        </p:nvGraphicFramePr>
        <p:xfrm>
          <a:off x="421320" y="3716311"/>
          <a:ext cx="1460600" cy="179838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60600"/>
              </a:tblGrid>
              <a:tr h="1008112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Book Antiqua" panose="02040602050305030304" pitchFamily="18" charset="0"/>
                        </a:rPr>
                        <a:t>Уд. вес фондового рынка (%)  РБ, РК, РФ в совокупном объеме фондового рынка ЕАЭС</a:t>
                      </a:r>
                      <a:endParaRPr lang="ru-RU" sz="14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 marL="91491" marR="91491" marT="45751" marB="45751"/>
                </a:tc>
              </a:tr>
            </a:tbl>
          </a:graphicData>
        </a:graphic>
      </p:graphicFrame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79638" y="713628"/>
            <a:ext cx="5848350" cy="346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81932" y="4166428"/>
            <a:ext cx="3219450" cy="243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187019" y="725864"/>
          <a:ext cx="5844618" cy="3412503"/>
        </p:xfrm>
        <a:graphic>
          <a:graphicData uri="http://schemas.openxmlformats.org/drawingml/2006/table">
            <a:tbl>
              <a:tblPr/>
              <a:tblGrid>
                <a:gridCol w="5844618"/>
              </a:tblGrid>
              <a:tr h="3412503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20" name="AutoShape 111"/>
          <p:cNvSpPr>
            <a:spLocks noChangeArrowheads="1"/>
          </p:cNvSpPr>
          <p:nvPr/>
        </p:nvSpPr>
        <p:spPr bwMode="auto">
          <a:xfrm>
            <a:off x="8575104" y="652462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1</a:t>
            </a:r>
            <a:r>
              <a:rPr lang="ru-RU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6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21" name="AutoShape 111"/>
          <p:cNvSpPr>
            <a:spLocks noChangeArrowheads="1"/>
          </p:cNvSpPr>
          <p:nvPr/>
        </p:nvSpPr>
        <p:spPr bwMode="auto">
          <a:xfrm>
            <a:off x="8103782" y="652204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23" name="AutoShape 111"/>
          <p:cNvSpPr>
            <a:spLocks noChangeArrowheads="1"/>
          </p:cNvSpPr>
          <p:nvPr/>
        </p:nvSpPr>
        <p:spPr bwMode="auto">
          <a:xfrm>
            <a:off x="7629070" y="652276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/>
        </p:nvGraphicFramePr>
        <p:xfrm>
          <a:off x="2187019" y="4157221"/>
          <a:ext cx="3195686" cy="2450969"/>
        </p:xfrm>
        <a:graphic>
          <a:graphicData uri="http://schemas.openxmlformats.org/drawingml/2006/table">
            <a:tbl>
              <a:tblPr/>
              <a:tblGrid>
                <a:gridCol w="3195686"/>
              </a:tblGrid>
              <a:tr h="2450969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677374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AutoShape 28"/>
          <p:cNvSpPr>
            <a:spLocks noChangeArrowheads="1"/>
          </p:cNvSpPr>
          <p:nvPr/>
        </p:nvSpPr>
        <p:spPr bwMode="auto">
          <a:xfrm>
            <a:off x="131180" y="836007"/>
            <a:ext cx="8900408" cy="5904656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  <a:alpha val="86000"/>
            </a:schemeClr>
          </a:solidFill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lIns="91429" tIns="45714" rIns="91429" bIns="45714" anchor="ctr"/>
          <a:lstStyle/>
          <a:p>
            <a:pPr lvl="0"/>
            <a:endParaRPr lang="ru-RU" sz="1600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0" y="0"/>
            <a:ext cx="9108504" cy="765175"/>
          </a:xfrm>
          <a:prstGeom prst="rect">
            <a:avLst/>
          </a:prstGeom>
          <a:solidFill>
            <a:srgbClr val="006699"/>
          </a:solidFill>
          <a:scene3d>
            <a:camera prst="orthographicFront"/>
            <a:lightRig rig="threePt" dir="t"/>
          </a:scene3d>
          <a:sp3d>
            <a:bevelT w="825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9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graphicFrame>
        <p:nvGraphicFramePr>
          <p:cNvPr id="20" name="Схема 19"/>
          <p:cNvGraphicFramePr/>
          <p:nvPr>
            <p:extLst>
              <p:ext uri="{D42A27DB-BD31-4B8C-83A1-F6EECF244321}">
                <p14:modId xmlns:p14="http://schemas.microsoft.com/office/powerpoint/2010/main" xmlns="" val="4084407542"/>
              </p:ext>
            </p:extLst>
          </p:nvPr>
        </p:nvGraphicFramePr>
        <p:xfrm>
          <a:off x="467544" y="980728"/>
          <a:ext cx="8374260" cy="53285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1" name="Rectangle 6"/>
          <p:cNvSpPr>
            <a:spLocks noChangeArrowheads="1"/>
          </p:cNvSpPr>
          <p:nvPr/>
        </p:nvSpPr>
        <p:spPr bwMode="auto">
          <a:xfrm>
            <a:off x="666879" y="1268760"/>
            <a:ext cx="43204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sz="1900" b="1" dirty="0" smtClean="0"/>
              <a:t>1 </a:t>
            </a:r>
            <a:endParaRPr lang="ru-RU" altLang="ru-RU" sz="1900" b="1" u="sng" dirty="0"/>
          </a:p>
        </p:txBody>
      </p:sp>
      <p:sp>
        <p:nvSpPr>
          <p:cNvPr id="22" name="Rectangle 6"/>
          <p:cNvSpPr>
            <a:spLocks noChangeArrowheads="1"/>
          </p:cNvSpPr>
          <p:nvPr/>
        </p:nvSpPr>
        <p:spPr bwMode="auto">
          <a:xfrm>
            <a:off x="1150686" y="2012503"/>
            <a:ext cx="43204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900" b="1" dirty="0" smtClean="0"/>
              <a:t>2</a:t>
            </a:r>
            <a:r>
              <a:rPr lang="en-US" altLang="ru-RU" sz="1900" b="1" dirty="0" smtClean="0"/>
              <a:t> </a:t>
            </a:r>
            <a:endParaRPr lang="ru-RU" altLang="ru-RU" sz="1900" b="1" u="sng" dirty="0"/>
          </a:p>
        </p:txBody>
      </p:sp>
      <p:sp>
        <p:nvSpPr>
          <p:cNvPr id="24" name="Rectangle 6"/>
          <p:cNvSpPr>
            <a:spLocks noChangeArrowheads="1"/>
          </p:cNvSpPr>
          <p:nvPr/>
        </p:nvSpPr>
        <p:spPr bwMode="auto">
          <a:xfrm>
            <a:off x="1366710" y="2780928"/>
            <a:ext cx="43204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900" b="1" dirty="0" smtClean="0"/>
              <a:t>3</a:t>
            </a:r>
            <a:r>
              <a:rPr lang="en-US" altLang="ru-RU" sz="1900" b="1" dirty="0" smtClean="0"/>
              <a:t> </a:t>
            </a:r>
            <a:endParaRPr lang="ru-RU" altLang="ru-RU" sz="1900" b="1" u="sng" dirty="0"/>
          </a:p>
        </p:txBody>
      </p:sp>
      <p:sp>
        <p:nvSpPr>
          <p:cNvPr id="26" name="Rectangle 6"/>
          <p:cNvSpPr>
            <a:spLocks noChangeArrowheads="1"/>
          </p:cNvSpPr>
          <p:nvPr/>
        </p:nvSpPr>
        <p:spPr bwMode="auto">
          <a:xfrm>
            <a:off x="1403648" y="3501008"/>
            <a:ext cx="43204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900" b="1" dirty="0" smtClean="0"/>
              <a:t>4</a:t>
            </a:r>
            <a:r>
              <a:rPr lang="en-US" altLang="ru-RU" sz="1900" b="1" dirty="0" smtClean="0"/>
              <a:t> </a:t>
            </a:r>
            <a:endParaRPr lang="ru-RU" altLang="ru-RU" sz="1900" b="1" u="sng" dirty="0"/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auto">
          <a:xfrm>
            <a:off x="136088" y="172245"/>
            <a:ext cx="8900408" cy="61555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7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    ОБЩИЙ ФИНАНСОВЫЙ РЫНОК И ЗАДАЧИ КОМИССИИ      </a:t>
            </a:r>
          </a:p>
          <a:p>
            <a:pPr eaLnBrk="1" hangingPunct="1"/>
            <a:r>
              <a:rPr lang="ru-RU" sz="17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                     НА БЛИЖАЙШУЮ ПЕРСПЕКТИВУ</a:t>
            </a:r>
            <a:endParaRPr lang="ru-RU" altLang="ru-RU" sz="1700" b="1" dirty="0">
              <a:solidFill>
                <a:srgbClr val="3366CC"/>
              </a:solidFill>
              <a:latin typeface="Baskerville Old Face" panose="02020602080505020303" pitchFamily="18" charset="0"/>
            </a:endParaRPr>
          </a:p>
        </p:txBody>
      </p:sp>
      <p:sp>
        <p:nvSpPr>
          <p:cNvPr id="23" name="Rectangle 6"/>
          <p:cNvSpPr>
            <a:spLocks noChangeArrowheads="1"/>
          </p:cNvSpPr>
          <p:nvPr/>
        </p:nvSpPr>
        <p:spPr bwMode="auto">
          <a:xfrm>
            <a:off x="1366710" y="4221088"/>
            <a:ext cx="43204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900" b="1" dirty="0" smtClean="0"/>
              <a:t>5</a:t>
            </a:r>
            <a:r>
              <a:rPr lang="en-US" altLang="ru-RU" sz="1900" b="1" dirty="0" smtClean="0"/>
              <a:t> </a:t>
            </a:r>
            <a:endParaRPr lang="ru-RU" altLang="ru-RU" sz="1900" b="1" u="sng" dirty="0"/>
          </a:p>
        </p:txBody>
      </p:sp>
      <p:sp>
        <p:nvSpPr>
          <p:cNvPr id="31" name="Rectangle 6"/>
          <p:cNvSpPr>
            <a:spLocks noChangeArrowheads="1"/>
          </p:cNvSpPr>
          <p:nvPr/>
        </p:nvSpPr>
        <p:spPr bwMode="auto">
          <a:xfrm>
            <a:off x="1098927" y="4941168"/>
            <a:ext cx="43204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900" b="1" dirty="0"/>
              <a:t>6</a:t>
            </a:r>
            <a:r>
              <a:rPr lang="en-US" altLang="ru-RU" sz="1900" b="1" dirty="0" smtClean="0"/>
              <a:t> </a:t>
            </a:r>
            <a:endParaRPr lang="ru-RU" altLang="ru-RU" sz="1900" b="1" u="sng" dirty="0"/>
          </a:p>
        </p:txBody>
      </p:sp>
      <p:sp>
        <p:nvSpPr>
          <p:cNvPr id="32" name="Rectangle 6"/>
          <p:cNvSpPr>
            <a:spLocks noChangeArrowheads="1"/>
          </p:cNvSpPr>
          <p:nvPr/>
        </p:nvSpPr>
        <p:spPr bwMode="auto">
          <a:xfrm>
            <a:off x="664441" y="5589240"/>
            <a:ext cx="43204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900" b="1" dirty="0" smtClean="0"/>
              <a:t>7</a:t>
            </a:r>
            <a:r>
              <a:rPr lang="en-US" altLang="ru-RU" sz="1900" b="1" dirty="0" smtClean="0"/>
              <a:t> </a:t>
            </a:r>
            <a:endParaRPr lang="ru-RU" altLang="ru-RU" sz="1900" b="1" u="sng" dirty="0"/>
          </a:p>
        </p:txBody>
      </p:sp>
      <p:sp>
        <p:nvSpPr>
          <p:cNvPr id="33" name="AutoShape 111"/>
          <p:cNvSpPr>
            <a:spLocks noChangeArrowheads="1"/>
          </p:cNvSpPr>
          <p:nvPr/>
        </p:nvSpPr>
        <p:spPr bwMode="auto">
          <a:xfrm>
            <a:off x="8575104" y="652462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1</a:t>
            </a:r>
            <a:r>
              <a:rPr lang="ru-RU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7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34" name="AutoShape 111"/>
          <p:cNvSpPr>
            <a:spLocks noChangeArrowheads="1"/>
          </p:cNvSpPr>
          <p:nvPr/>
        </p:nvSpPr>
        <p:spPr bwMode="auto">
          <a:xfrm>
            <a:off x="8103782" y="652204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35" name="AutoShape 111"/>
          <p:cNvSpPr>
            <a:spLocks noChangeArrowheads="1"/>
          </p:cNvSpPr>
          <p:nvPr/>
        </p:nvSpPr>
        <p:spPr bwMode="auto">
          <a:xfrm>
            <a:off x="7629070" y="652276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65646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64" y="1"/>
            <a:ext cx="9140736" cy="6858000"/>
          </a:xfrm>
          <a:prstGeom prst="rect">
            <a:avLst/>
          </a:prstGeom>
          <a:solidFill>
            <a:srgbClr val="003399">
              <a:alpha val="22000"/>
            </a:srgbClr>
          </a:solidFill>
          <a:ln>
            <a:noFill/>
          </a:ln>
        </p:spPr>
      </p:pic>
      <p:sp>
        <p:nvSpPr>
          <p:cNvPr id="7" name="Rectangle 1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0570" y="2636912"/>
            <a:ext cx="82296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5300" dirty="0">
                <a:latin typeface="Mistral" pitchFamily="66" charset="0"/>
                <a:cs typeface="BrowalliaUPC" pitchFamily="34" charset="-34"/>
              </a:rPr>
              <a:t>Спасибо за внимание!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20137" y="6028134"/>
            <a:ext cx="23050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004414912"/>
              </p:ext>
            </p:extLst>
          </p:nvPr>
        </p:nvGraphicFramePr>
        <p:xfrm>
          <a:off x="6804248" y="6021288"/>
          <a:ext cx="2328420" cy="876692"/>
        </p:xfrm>
        <a:graphic>
          <a:graphicData uri="http://schemas.openxmlformats.org/drawingml/2006/table">
            <a:tbl>
              <a:tblPr/>
              <a:tblGrid>
                <a:gridCol w="2328420"/>
              </a:tblGrid>
              <a:tr h="876692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  <a:solidFill>
                      <a:srgbClr val="003399">
                        <a:alpha val="45000"/>
                      </a:srgbClr>
                    </a:solidFill>
                  </a:tcPr>
                </a:tc>
              </a:tr>
            </a:tbl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3289" y="-3066"/>
            <a:ext cx="2428875" cy="140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99936863"/>
              </p:ext>
            </p:extLst>
          </p:nvPr>
        </p:nvGraphicFramePr>
        <p:xfrm>
          <a:off x="-18854" y="-9427"/>
          <a:ext cx="2441543" cy="1404594"/>
        </p:xfrm>
        <a:graphic>
          <a:graphicData uri="http://schemas.openxmlformats.org/drawingml/2006/table">
            <a:tbl>
              <a:tblPr/>
              <a:tblGrid>
                <a:gridCol w="2441543"/>
              </a:tblGrid>
              <a:tr h="140459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  <a:solidFill>
                      <a:srgbClr val="003399">
                        <a:alpha val="37000"/>
                      </a:srgb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utoShape 28"/>
          <p:cNvSpPr>
            <a:spLocks noChangeArrowheads="1"/>
          </p:cNvSpPr>
          <p:nvPr/>
        </p:nvSpPr>
        <p:spPr bwMode="auto">
          <a:xfrm>
            <a:off x="136089" y="808925"/>
            <a:ext cx="8900408" cy="5904656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  <a:alpha val="86000"/>
            </a:schemeClr>
          </a:solidFill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lIns="91429" tIns="45714" rIns="91429" bIns="45714" anchor="ctr"/>
          <a:lstStyle/>
          <a:p>
            <a:pPr algn="ctr" defTabSz="914257"/>
            <a:endParaRPr lang="en-US" sz="1600" b="1" dirty="0">
              <a:solidFill>
                <a:srgbClr val="FF0000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0" y="0"/>
            <a:ext cx="9144000" cy="765175"/>
          </a:xfrm>
          <a:prstGeom prst="rect">
            <a:avLst/>
          </a:prstGeom>
          <a:solidFill>
            <a:srgbClr val="006699"/>
          </a:solidFill>
          <a:scene3d>
            <a:camera prst="orthographicFront"/>
            <a:lightRig rig="threePt" dir="t"/>
          </a:scene3d>
          <a:sp3d>
            <a:bevelT w="952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СОГЛАШЕНИЯ, ФОРМИРУЮЩИЕ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ЕДИНОЕ ЭКОНОМИЧЕСКОЕ ПРОСТРАНСТВО</a:t>
            </a:r>
            <a:endParaRPr lang="ru-RU" sz="19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251520" y="5508835"/>
            <a:ext cx="6046887" cy="870346"/>
            <a:chOff x="541337" y="2418741"/>
            <a:chExt cx="6046887" cy="870346"/>
          </a:xfrm>
          <a:solidFill>
            <a:srgbClr val="006699"/>
          </a:solidFill>
        </p:grpSpPr>
        <p:sp>
          <p:nvSpPr>
            <p:cNvPr id="5" name="Полилиния 4"/>
            <p:cNvSpPr/>
            <p:nvPr/>
          </p:nvSpPr>
          <p:spPr>
            <a:xfrm>
              <a:off x="541337" y="2418741"/>
              <a:ext cx="2175867" cy="870346"/>
            </a:xfrm>
            <a:custGeom>
              <a:avLst/>
              <a:gdLst>
                <a:gd name="connsiteX0" fmla="*/ 0 w 2175867"/>
                <a:gd name="connsiteY0" fmla="*/ 0 h 870346"/>
                <a:gd name="connsiteX1" fmla="*/ 1740694 w 2175867"/>
                <a:gd name="connsiteY1" fmla="*/ 0 h 870346"/>
                <a:gd name="connsiteX2" fmla="*/ 2175867 w 2175867"/>
                <a:gd name="connsiteY2" fmla="*/ 435173 h 870346"/>
                <a:gd name="connsiteX3" fmla="*/ 1740694 w 2175867"/>
                <a:gd name="connsiteY3" fmla="*/ 870346 h 870346"/>
                <a:gd name="connsiteX4" fmla="*/ 0 w 2175867"/>
                <a:gd name="connsiteY4" fmla="*/ 870346 h 870346"/>
                <a:gd name="connsiteX5" fmla="*/ 435173 w 2175867"/>
                <a:gd name="connsiteY5" fmla="*/ 435173 h 870346"/>
                <a:gd name="connsiteX6" fmla="*/ 0 w 2175867"/>
                <a:gd name="connsiteY6" fmla="*/ 0 h 870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5867" h="870346">
                  <a:moveTo>
                    <a:pt x="0" y="0"/>
                  </a:moveTo>
                  <a:lnTo>
                    <a:pt x="1740694" y="0"/>
                  </a:lnTo>
                  <a:lnTo>
                    <a:pt x="2175867" y="435173"/>
                  </a:lnTo>
                  <a:lnTo>
                    <a:pt x="1740694" y="870346"/>
                  </a:lnTo>
                  <a:lnTo>
                    <a:pt x="0" y="870346"/>
                  </a:lnTo>
                  <a:lnTo>
                    <a:pt x="435173" y="435173"/>
                  </a:lnTo>
                  <a:lnTo>
                    <a:pt x="0" y="0"/>
                  </a:lnTo>
                  <a:close/>
                </a:path>
              </a:pathLst>
            </a:custGeom>
            <a:grpFill/>
            <a:scene3d>
              <a:camera prst="orthographicFront"/>
              <a:lightRig rig="threePt" dir="t"/>
            </a:scene3d>
            <a:sp3d>
              <a:bevelT w="101600"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11183" tIns="25337" rIns="460510" bIns="25337" numCol="1" spcCol="1270" anchor="ctr" anchorCtr="0">
              <a:noAutofit/>
            </a:bodyPr>
            <a:lstStyle/>
            <a:p>
              <a:pPr algn="ctr" defTabSz="84455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900" dirty="0" smtClean="0">
                  <a:latin typeface="Book Antiqua" panose="02040602050305030304" pitchFamily="18" charset="0"/>
                </a:rPr>
                <a:t>ЗСТ</a:t>
              </a:r>
              <a:endParaRPr lang="ru-RU" sz="1900" dirty="0">
                <a:latin typeface="Book Antiqua" panose="02040602050305030304" pitchFamily="18" charset="0"/>
              </a:endParaRPr>
            </a:p>
          </p:txBody>
        </p:sp>
        <p:sp>
          <p:nvSpPr>
            <p:cNvPr id="6" name="Полилиния 5"/>
            <p:cNvSpPr/>
            <p:nvPr/>
          </p:nvSpPr>
          <p:spPr>
            <a:xfrm>
              <a:off x="2499618" y="2418741"/>
              <a:ext cx="2175867" cy="870346"/>
            </a:xfrm>
            <a:custGeom>
              <a:avLst/>
              <a:gdLst>
                <a:gd name="connsiteX0" fmla="*/ 0 w 2175867"/>
                <a:gd name="connsiteY0" fmla="*/ 0 h 870346"/>
                <a:gd name="connsiteX1" fmla="*/ 1740694 w 2175867"/>
                <a:gd name="connsiteY1" fmla="*/ 0 h 870346"/>
                <a:gd name="connsiteX2" fmla="*/ 2175867 w 2175867"/>
                <a:gd name="connsiteY2" fmla="*/ 435173 h 870346"/>
                <a:gd name="connsiteX3" fmla="*/ 1740694 w 2175867"/>
                <a:gd name="connsiteY3" fmla="*/ 870346 h 870346"/>
                <a:gd name="connsiteX4" fmla="*/ 0 w 2175867"/>
                <a:gd name="connsiteY4" fmla="*/ 870346 h 870346"/>
                <a:gd name="connsiteX5" fmla="*/ 435173 w 2175867"/>
                <a:gd name="connsiteY5" fmla="*/ 435173 h 870346"/>
                <a:gd name="connsiteX6" fmla="*/ 0 w 2175867"/>
                <a:gd name="connsiteY6" fmla="*/ 0 h 870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5867" h="870346">
                  <a:moveTo>
                    <a:pt x="0" y="0"/>
                  </a:moveTo>
                  <a:lnTo>
                    <a:pt x="1740694" y="0"/>
                  </a:lnTo>
                  <a:lnTo>
                    <a:pt x="2175867" y="435173"/>
                  </a:lnTo>
                  <a:lnTo>
                    <a:pt x="1740694" y="870346"/>
                  </a:lnTo>
                  <a:lnTo>
                    <a:pt x="0" y="870346"/>
                  </a:lnTo>
                  <a:lnTo>
                    <a:pt x="435173" y="435173"/>
                  </a:lnTo>
                  <a:lnTo>
                    <a:pt x="0" y="0"/>
                  </a:lnTo>
                  <a:close/>
                </a:path>
              </a:pathLst>
            </a:custGeom>
            <a:grpFill/>
            <a:scene3d>
              <a:camera prst="orthographicFront"/>
              <a:lightRig rig="threePt" dir="t"/>
            </a:scene3d>
            <a:sp3d>
              <a:bevelT w="101600"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11183" tIns="25337" rIns="460510" bIns="25337" numCol="1" spcCol="1270" anchor="ctr" anchorCtr="0">
              <a:noAutofit/>
            </a:bodyPr>
            <a:lstStyle/>
            <a:p>
              <a:pPr algn="ctr" defTabSz="84455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900" dirty="0" smtClean="0">
                  <a:latin typeface="Book Antiqua" panose="02040602050305030304" pitchFamily="18" charset="0"/>
                </a:rPr>
                <a:t>ТС</a:t>
              </a:r>
              <a:endParaRPr lang="ru-RU" sz="1900" dirty="0">
                <a:latin typeface="Book Antiqua" panose="02040602050305030304" pitchFamily="18" charset="0"/>
              </a:endParaRPr>
            </a:p>
          </p:txBody>
        </p:sp>
        <p:sp>
          <p:nvSpPr>
            <p:cNvPr id="8" name="Полилиния 7"/>
            <p:cNvSpPr/>
            <p:nvPr/>
          </p:nvSpPr>
          <p:spPr>
            <a:xfrm>
              <a:off x="4412357" y="2418741"/>
              <a:ext cx="2175867" cy="870346"/>
            </a:xfrm>
            <a:custGeom>
              <a:avLst/>
              <a:gdLst>
                <a:gd name="connsiteX0" fmla="*/ 0 w 2175867"/>
                <a:gd name="connsiteY0" fmla="*/ 0 h 870346"/>
                <a:gd name="connsiteX1" fmla="*/ 1740694 w 2175867"/>
                <a:gd name="connsiteY1" fmla="*/ 0 h 870346"/>
                <a:gd name="connsiteX2" fmla="*/ 2175867 w 2175867"/>
                <a:gd name="connsiteY2" fmla="*/ 435173 h 870346"/>
                <a:gd name="connsiteX3" fmla="*/ 1740694 w 2175867"/>
                <a:gd name="connsiteY3" fmla="*/ 870346 h 870346"/>
                <a:gd name="connsiteX4" fmla="*/ 0 w 2175867"/>
                <a:gd name="connsiteY4" fmla="*/ 870346 h 870346"/>
                <a:gd name="connsiteX5" fmla="*/ 435173 w 2175867"/>
                <a:gd name="connsiteY5" fmla="*/ 435173 h 870346"/>
                <a:gd name="connsiteX6" fmla="*/ 0 w 2175867"/>
                <a:gd name="connsiteY6" fmla="*/ 0 h 870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5867" h="870346">
                  <a:moveTo>
                    <a:pt x="0" y="0"/>
                  </a:moveTo>
                  <a:lnTo>
                    <a:pt x="1740694" y="0"/>
                  </a:lnTo>
                  <a:lnTo>
                    <a:pt x="2175867" y="435173"/>
                  </a:lnTo>
                  <a:lnTo>
                    <a:pt x="1740694" y="870346"/>
                  </a:lnTo>
                  <a:lnTo>
                    <a:pt x="0" y="870346"/>
                  </a:lnTo>
                  <a:lnTo>
                    <a:pt x="435173" y="435173"/>
                  </a:lnTo>
                  <a:lnTo>
                    <a:pt x="0" y="0"/>
                  </a:lnTo>
                  <a:close/>
                </a:path>
              </a:pathLst>
            </a:custGeom>
            <a:grpFill/>
            <a:scene3d>
              <a:camera prst="orthographicFront"/>
              <a:lightRig rig="threePt" dir="t"/>
            </a:scene3d>
            <a:sp3d>
              <a:bevelT w="101600"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11183" tIns="25337" rIns="460510" bIns="25337" numCol="1" spcCol="1270" anchor="ctr" anchorCtr="0">
              <a:noAutofit/>
            </a:bodyPr>
            <a:lstStyle/>
            <a:p>
              <a:pPr algn="ctr" defTabSz="84455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900" dirty="0" smtClean="0">
                  <a:latin typeface="Book Antiqua" panose="02040602050305030304" pitchFamily="18" charset="0"/>
                </a:rPr>
                <a:t>ЕЭП</a:t>
              </a:r>
              <a:endParaRPr lang="ru-RU" sz="1900" dirty="0">
                <a:latin typeface="Book Antiqua" panose="02040602050305030304" pitchFamily="18" charset="0"/>
              </a:endParaRPr>
            </a:p>
          </p:txBody>
        </p:sp>
      </p:grpSp>
      <p:sp>
        <p:nvSpPr>
          <p:cNvPr id="17" name="Полилиния 16"/>
          <p:cNvSpPr/>
          <p:nvPr/>
        </p:nvSpPr>
        <p:spPr>
          <a:xfrm>
            <a:off x="6012160" y="5510982"/>
            <a:ext cx="2175867" cy="870346"/>
          </a:xfrm>
          <a:custGeom>
            <a:avLst/>
            <a:gdLst>
              <a:gd name="connsiteX0" fmla="*/ 0 w 2175867"/>
              <a:gd name="connsiteY0" fmla="*/ 0 h 870346"/>
              <a:gd name="connsiteX1" fmla="*/ 1740694 w 2175867"/>
              <a:gd name="connsiteY1" fmla="*/ 0 h 870346"/>
              <a:gd name="connsiteX2" fmla="*/ 2175867 w 2175867"/>
              <a:gd name="connsiteY2" fmla="*/ 435173 h 870346"/>
              <a:gd name="connsiteX3" fmla="*/ 1740694 w 2175867"/>
              <a:gd name="connsiteY3" fmla="*/ 870346 h 870346"/>
              <a:gd name="connsiteX4" fmla="*/ 0 w 2175867"/>
              <a:gd name="connsiteY4" fmla="*/ 870346 h 870346"/>
              <a:gd name="connsiteX5" fmla="*/ 435173 w 2175867"/>
              <a:gd name="connsiteY5" fmla="*/ 435173 h 870346"/>
              <a:gd name="connsiteX6" fmla="*/ 0 w 2175867"/>
              <a:gd name="connsiteY6" fmla="*/ 0 h 870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75867" h="870346">
                <a:moveTo>
                  <a:pt x="0" y="0"/>
                </a:moveTo>
                <a:lnTo>
                  <a:pt x="1740694" y="0"/>
                </a:lnTo>
                <a:lnTo>
                  <a:pt x="2175867" y="435173"/>
                </a:lnTo>
                <a:lnTo>
                  <a:pt x="1740694" y="870346"/>
                </a:lnTo>
                <a:lnTo>
                  <a:pt x="0" y="870346"/>
                </a:lnTo>
                <a:lnTo>
                  <a:pt x="435173" y="435173"/>
                </a:lnTo>
                <a:lnTo>
                  <a:pt x="0" y="0"/>
                </a:lnTo>
                <a:close/>
              </a:path>
            </a:pathLst>
          </a:custGeom>
          <a:solidFill>
            <a:srgbClr val="006699"/>
          </a:solidFill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11183" tIns="25337" rIns="460510" bIns="25337" numCol="1" spcCol="1270" anchor="ctr" anchorCtr="0">
            <a:noAutofit/>
          </a:bodyPr>
          <a:lstStyle/>
          <a:p>
            <a:pPr algn="ctr" defTabSz="844550">
              <a:lnSpc>
                <a:spcPct val="90000"/>
              </a:lnSpc>
              <a:spcAft>
                <a:spcPct val="35000"/>
              </a:spcAft>
            </a:pPr>
            <a:r>
              <a:rPr lang="ru-RU" sz="1900" dirty="0" smtClean="0">
                <a:latin typeface="Book Antiqua" panose="02040602050305030304" pitchFamily="18" charset="0"/>
              </a:rPr>
              <a:t>ЕАЭС</a:t>
            </a:r>
            <a:endParaRPr lang="ru-RU" sz="1900" dirty="0">
              <a:latin typeface="Book Antiqua" panose="02040602050305030304" pitchFamily="18" charset="0"/>
            </a:endParaRPr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xmlns="" val="826889487"/>
              </p:ext>
            </p:extLst>
          </p:nvPr>
        </p:nvGraphicFramePr>
        <p:xfrm>
          <a:off x="123640" y="980728"/>
          <a:ext cx="5240448" cy="44644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Правая фигурная скобка 11"/>
          <p:cNvSpPr/>
          <p:nvPr/>
        </p:nvSpPr>
        <p:spPr>
          <a:xfrm>
            <a:off x="5220072" y="1124744"/>
            <a:ext cx="704453" cy="3744416"/>
          </a:xfrm>
          <a:prstGeom prst="rightBrac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Блок-схема: несколько документов 12"/>
          <p:cNvSpPr/>
          <p:nvPr/>
        </p:nvSpPr>
        <p:spPr>
          <a:xfrm>
            <a:off x="6012161" y="1484784"/>
            <a:ext cx="3024336" cy="3024336"/>
          </a:xfrm>
          <a:prstGeom prst="flowChartMultidocument">
            <a:avLst/>
          </a:prstGeom>
          <a:solidFill>
            <a:srgbClr val="3366CC"/>
          </a:solidFill>
          <a:scene3d>
            <a:camera prst="orthographicFront"/>
            <a:lightRig rig="threePt" dir="t"/>
          </a:scene3d>
          <a:sp3d>
            <a:bevelT w="1270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ru-RU" b="1" cap="all" dirty="0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  <a:latin typeface="Book Antiqua" panose="02040602050305030304" pitchFamily="18" charset="0"/>
              </a:rPr>
              <a:t>ДОГОВОР О ЕВРАЗИЙСКОМ ЭКОНОМИЧЕСКОМ СОЮЗЕ       (01.01.2015)</a:t>
            </a:r>
            <a:endParaRPr lang="en-US" b="1" cap="all" dirty="0" smtClean="0">
              <a:ln w="0"/>
              <a:solidFill>
                <a:schemeClr val="bg1"/>
              </a:solidFill>
              <a:effectLst>
                <a:reflection blurRad="12700" stA="50000" endPos="50000" dist="5000" dir="5400000" sy="-100000" rotWithShape="0"/>
              </a:effectLst>
              <a:latin typeface="Book Antiqua" panose="02040602050305030304" pitchFamily="18" charset="0"/>
            </a:endParaRPr>
          </a:p>
          <a:p>
            <a:pPr algn="ctr"/>
            <a:r>
              <a:rPr lang="en-US" b="1" cap="all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  <a:latin typeface="Baskerville Old Face" panose="02020602080505020303" pitchFamily="18" charset="0"/>
              </a:rPr>
              <a:t> </a:t>
            </a:r>
            <a:endParaRPr lang="ru-RU" b="1" cap="all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Baskerville Old Face" panose="02020602080505020303" pitchFamily="18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136088" y="5373216"/>
            <a:ext cx="8900408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Овал 1"/>
          <p:cNvSpPr/>
          <p:nvPr/>
        </p:nvSpPr>
        <p:spPr>
          <a:xfrm>
            <a:off x="755576" y="6480001"/>
            <a:ext cx="1080120" cy="33337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003</a:t>
            </a:r>
            <a:endParaRPr lang="ru-RU" dirty="0"/>
          </a:p>
        </p:txBody>
      </p:sp>
      <p:sp>
        <p:nvSpPr>
          <p:cNvPr id="18" name="Овал 17"/>
          <p:cNvSpPr/>
          <p:nvPr/>
        </p:nvSpPr>
        <p:spPr>
          <a:xfrm>
            <a:off x="2555776" y="6480001"/>
            <a:ext cx="1080120" cy="33337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010</a:t>
            </a:r>
            <a:endParaRPr lang="ru-RU" dirty="0"/>
          </a:p>
        </p:txBody>
      </p:sp>
      <p:sp>
        <p:nvSpPr>
          <p:cNvPr id="19" name="Овал 18"/>
          <p:cNvSpPr/>
          <p:nvPr/>
        </p:nvSpPr>
        <p:spPr>
          <a:xfrm>
            <a:off x="4355976" y="6480001"/>
            <a:ext cx="1080120" cy="33337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012</a:t>
            </a:r>
            <a:endParaRPr lang="ru-RU" dirty="0"/>
          </a:p>
        </p:txBody>
      </p:sp>
      <p:sp>
        <p:nvSpPr>
          <p:cNvPr id="20" name="Овал 19"/>
          <p:cNvSpPr/>
          <p:nvPr/>
        </p:nvSpPr>
        <p:spPr>
          <a:xfrm>
            <a:off x="6012160" y="6480001"/>
            <a:ext cx="1080120" cy="33337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2015</a:t>
            </a:r>
            <a:endParaRPr lang="ru-RU" dirty="0"/>
          </a:p>
        </p:txBody>
      </p:sp>
      <p:sp>
        <p:nvSpPr>
          <p:cNvPr id="28" name="AutoShape 111"/>
          <p:cNvSpPr>
            <a:spLocks noChangeArrowheads="1"/>
          </p:cNvSpPr>
          <p:nvPr/>
        </p:nvSpPr>
        <p:spPr bwMode="auto">
          <a:xfrm>
            <a:off x="8575104" y="652462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2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29" name="AutoShape 111"/>
          <p:cNvSpPr>
            <a:spLocks noChangeArrowheads="1"/>
          </p:cNvSpPr>
          <p:nvPr/>
        </p:nvSpPr>
        <p:spPr bwMode="auto">
          <a:xfrm>
            <a:off x="8103782" y="652204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30" name="AutoShape 111"/>
          <p:cNvSpPr>
            <a:spLocks noChangeArrowheads="1"/>
          </p:cNvSpPr>
          <p:nvPr/>
        </p:nvSpPr>
        <p:spPr bwMode="auto">
          <a:xfrm>
            <a:off x="7629070" y="652276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AutoShape 28"/>
          <p:cNvSpPr>
            <a:spLocks noChangeArrowheads="1"/>
          </p:cNvSpPr>
          <p:nvPr/>
        </p:nvSpPr>
        <p:spPr bwMode="auto">
          <a:xfrm>
            <a:off x="136088" y="836712"/>
            <a:ext cx="8900408" cy="5904656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  <a:alpha val="86000"/>
            </a:schemeClr>
          </a:solidFill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lIns="91429" tIns="45714" rIns="91429" bIns="45714" anchor="ctr"/>
          <a:lstStyle/>
          <a:p>
            <a:pPr algn="ctr" defTabSz="914257"/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0" y="0"/>
            <a:ext cx="3275856" cy="765175"/>
          </a:xfrm>
          <a:prstGeom prst="rect">
            <a:avLst/>
          </a:prstGeom>
          <a:solidFill>
            <a:srgbClr val="006699"/>
          </a:solidFill>
          <a:scene3d>
            <a:camera prst="orthographicFront"/>
            <a:lightRig rig="threePt" dir="t"/>
          </a:scene3d>
          <a:sp3d>
            <a:bevelT w="825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9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graphicFrame>
        <p:nvGraphicFramePr>
          <p:cNvPr id="20" name="Схема 19"/>
          <p:cNvGraphicFramePr/>
          <p:nvPr>
            <p:extLst>
              <p:ext uri="{D42A27DB-BD31-4B8C-83A1-F6EECF244321}">
                <p14:modId xmlns:p14="http://schemas.microsoft.com/office/powerpoint/2010/main" xmlns="" val="508574854"/>
              </p:ext>
            </p:extLst>
          </p:nvPr>
        </p:nvGraphicFramePr>
        <p:xfrm>
          <a:off x="1043608" y="2029296"/>
          <a:ext cx="7218536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1" name="Rectangle 6"/>
          <p:cNvSpPr>
            <a:spLocks noChangeArrowheads="1"/>
          </p:cNvSpPr>
          <p:nvPr/>
        </p:nvSpPr>
        <p:spPr bwMode="auto">
          <a:xfrm>
            <a:off x="1331640" y="2420888"/>
            <a:ext cx="43204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sz="1900" b="1" dirty="0" smtClean="0"/>
              <a:t>1 </a:t>
            </a:r>
            <a:endParaRPr lang="ru-RU" altLang="ru-RU" sz="1900" b="1" u="sng" dirty="0"/>
          </a:p>
        </p:txBody>
      </p:sp>
      <p:sp>
        <p:nvSpPr>
          <p:cNvPr id="22" name="Rectangle 6"/>
          <p:cNvSpPr>
            <a:spLocks noChangeArrowheads="1"/>
          </p:cNvSpPr>
          <p:nvPr/>
        </p:nvSpPr>
        <p:spPr bwMode="auto">
          <a:xfrm>
            <a:off x="1691680" y="3356992"/>
            <a:ext cx="43204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900" b="1" dirty="0" smtClean="0"/>
              <a:t>2</a:t>
            </a:r>
            <a:r>
              <a:rPr lang="en-US" altLang="ru-RU" sz="1900" b="1" dirty="0" smtClean="0"/>
              <a:t> </a:t>
            </a:r>
            <a:endParaRPr lang="ru-RU" altLang="ru-RU" sz="1900" b="1" u="sng" dirty="0"/>
          </a:p>
        </p:txBody>
      </p:sp>
      <p:sp>
        <p:nvSpPr>
          <p:cNvPr id="24" name="Rectangle 6"/>
          <p:cNvSpPr>
            <a:spLocks noChangeArrowheads="1"/>
          </p:cNvSpPr>
          <p:nvPr/>
        </p:nvSpPr>
        <p:spPr bwMode="auto">
          <a:xfrm>
            <a:off x="1691680" y="4340423"/>
            <a:ext cx="43204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900" b="1" dirty="0" smtClean="0"/>
              <a:t>3</a:t>
            </a:r>
            <a:r>
              <a:rPr lang="en-US" altLang="ru-RU" sz="1900" b="1" dirty="0" smtClean="0"/>
              <a:t> </a:t>
            </a:r>
            <a:endParaRPr lang="ru-RU" altLang="ru-RU" sz="1900" b="1" u="sng" dirty="0"/>
          </a:p>
        </p:txBody>
      </p:sp>
      <p:sp>
        <p:nvSpPr>
          <p:cNvPr id="26" name="Rectangle 6"/>
          <p:cNvSpPr>
            <a:spLocks noChangeArrowheads="1"/>
          </p:cNvSpPr>
          <p:nvPr/>
        </p:nvSpPr>
        <p:spPr bwMode="auto">
          <a:xfrm>
            <a:off x="1331059" y="5276527"/>
            <a:ext cx="43204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900" b="1" dirty="0" smtClean="0"/>
              <a:t>4</a:t>
            </a:r>
            <a:r>
              <a:rPr lang="en-US" altLang="ru-RU" sz="1900" b="1" dirty="0" smtClean="0"/>
              <a:t> </a:t>
            </a:r>
            <a:endParaRPr lang="ru-RU" altLang="ru-RU" sz="1900" b="1" u="sng" dirty="0"/>
          </a:p>
        </p:txBody>
      </p:sp>
      <p:sp>
        <p:nvSpPr>
          <p:cNvPr id="12" name="Полилиния 11"/>
          <p:cNvSpPr/>
          <p:nvPr/>
        </p:nvSpPr>
        <p:spPr>
          <a:xfrm>
            <a:off x="2632539" y="980728"/>
            <a:ext cx="4248472" cy="1152128"/>
          </a:xfrm>
          <a:custGeom>
            <a:avLst/>
            <a:gdLst>
              <a:gd name="connsiteX0" fmla="*/ 0 w 2175867"/>
              <a:gd name="connsiteY0" fmla="*/ 0 h 870346"/>
              <a:gd name="connsiteX1" fmla="*/ 1740694 w 2175867"/>
              <a:gd name="connsiteY1" fmla="*/ 0 h 870346"/>
              <a:gd name="connsiteX2" fmla="*/ 2175867 w 2175867"/>
              <a:gd name="connsiteY2" fmla="*/ 435173 h 870346"/>
              <a:gd name="connsiteX3" fmla="*/ 1740694 w 2175867"/>
              <a:gd name="connsiteY3" fmla="*/ 870346 h 870346"/>
              <a:gd name="connsiteX4" fmla="*/ 0 w 2175867"/>
              <a:gd name="connsiteY4" fmla="*/ 870346 h 870346"/>
              <a:gd name="connsiteX5" fmla="*/ 435173 w 2175867"/>
              <a:gd name="connsiteY5" fmla="*/ 435173 h 870346"/>
              <a:gd name="connsiteX6" fmla="*/ 0 w 2175867"/>
              <a:gd name="connsiteY6" fmla="*/ 0 h 870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75867" h="870346">
                <a:moveTo>
                  <a:pt x="0" y="0"/>
                </a:moveTo>
                <a:lnTo>
                  <a:pt x="1740694" y="0"/>
                </a:lnTo>
                <a:lnTo>
                  <a:pt x="2175867" y="435173"/>
                </a:lnTo>
                <a:lnTo>
                  <a:pt x="1740694" y="870346"/>
                </a:lnTo>
                <a:lnTo>
                  <a:pt x="0" y="870346"/>
                </a:lnTo>
                <a:lnTo>
                  <a:pt x="435173" y="43517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5000">
                <a:srgbClr val="003399"/>
              </a:gs>
              <a:gs pos="100000">
                <a:srgbClr val="0099CC"/>
              </a:gs>
            </a:gsLst>
            <a:lin ang="16200000" scaled="0"/>
          </a:gradFill>
          <a:scene3d>
            <a:camera prst="orthographicFront"/>
            <a:lightRig rig="threePt" dir="t"/>
          </a:scene3d>
          <a:sp3d>
            <a:bevelT w="825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9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307543" y="20491"/>
            <a:ext cx="3136665" cy="765175"/>
          </a:xfrm>
          <a:prstGeom prst="rect">
            <a:avLst/>
          </a:prstGeom>
          <a:solidFill>
            <a:srgbClr val="006699"/>
          </a:solidFill>
          <a:scene3d>
            <a:camera prst="orthographicFront"/>
            <a:lightRig rig="threePt" dir="t"/>
          </a:scene3d>
          <a:sp3d>
            <a:bevelT w="825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9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444208" y="-471"/>
            <a:ext cx="2699792" cy="765175"/>
          </a:xfrm>
          <a:prstGeom prst="rect">
            <a:avLst/>
          </a:prstGeom>
          <a:solidFill>
            <a:srgbClr val="006699"/>
          </a:solidFill>
          <a:scene3d>
            <a:camera prst="orthographicFront"/>
            <a:lightRig rig="threePt" dir="t"/>
          </a:scene3d>
          <a:sp3d>
            <a:bevelT w="825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9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auto">
          <a:xfrm>
            <a:off x="136088" y="172245"/>
            <a:ext cx="8900408" cy="46166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b="1" dirty="0" smtClean="0">
                <a:solidFill>
                  <a:srgbClr val="3366CC"/>
                </a:solidFill>
                <a:latin typeface="Baskerville Old Face" panose="02020602080505020303" pitchFamily="18" charset="0"/>
              </a:rPr>
              <a:t>         </a:t>
            </a:r>
            <a:r>
              <a:rPr lang="ru-RU" altLang="ru-RU" b="1" dirty="0" smtClean="0">
                <a:solidFill>
                  <a:srgbClr val="3366CC"/>
                </a:solidFill>
                <a:latin typeface="Baskerville Old Face" panose="02020602080505020303" pitchFamily="18" charset="0"/>
              </a:rPr>
              <a:t>                  </a:t>
            </a:r>
            <a:r>
              <a:rPr lang="ru-RU" sz="2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РЕАЛИЗАЦИЯ </a:t>
            </a:r>
            <a:r>
              <a:rPr lang="ru-RU" sz="2400" b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«ЧЕТЫРЕХ СВОБОД</a:t>
            </a:r>
            <a:r>
              <a:rPr lang="ru-RU" sz="2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»</a:t>
            </a:r>
            <a:endParaRPr lang="ru-RU" altLang="ru-RU" sz="1300" b="1" dirty="0">
              <a:solidFill>
                <a:srgbClr val="3366CC"/>
              </a:solidFill>
              <a:latin typeface="Baskerville Old Face" panose="02020602080505020303" pitchFamily="18" charset="0"/>
            </a:endParaRPr>
          </a:p>
        </p:txBody>
      </p:sp>
      <p:sp>
        <p:nvSpPr>
          <p:cNvPr id="16" name="Полилиния 15"/>
          <p:cNvSpPr/>
          <p:nvPr/>
        </p:nvSpPr>
        <p:spPr>
          <a:xfrm>
            <a:off x="179512" y="980728"/>
            <a:ext cx="3744416" cy="1152128"/>
          </a:xfrm>
          <a:custGeom>
            <a:avLst/>
            <a:gdLst>
              <a:gd name="connsiteX0" fmla="*/ 0 w 2175867"/>
              <a:gd name="connsiteY0" fmla="*/ 0 h 870346"/>
              <a:gd name="connsiteX1" fmla="*/ 1740694 w 2175867"/>
              <a:gd name="connsiteY1" fmla="*/ 0 h 870346"/>
              <a:gd name="connsiteX2" fmla="*/ 2175867 w 2175867"/>
              <a:gd name="connsiteY2" fmla="*/ 435173 h 870346"/>
              <a:gd name="connsiteX3" fmla="*/ 1740694 w 2175867"/>
              <a:gd name="connsiteY3" fmla="*/ 870346 h 870346"/>
              <a:gd name="connsiteX4" fmla="*/ 0 w 2175867"/>
              <a:gd name="connsiteY4" fmla="*/ 870346 h 870346"/>
              <a:gd name="connsiteX5" fmla="*/ 435173 w 2175867"/>
              <a:gd name="connsiteY5" fmla="*/ 435173 h 870346"/>
              <a:gd name="connsiteX6" fmla="*/ 0 w 2175867"/>
              <a:gd name="connsiteY6" fmla="*/ 0 h 870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75867" h="870346">
                <a:moveTo>
                  <a:pt x="0" y="0"/>
                </a:moveTo>
                <a:lnTo>
                  <a:pt x="1740694" y="0"/>
                </a:lnTo>
                <a:lnTo>
                  <a:pt x="2175867" y="435173"/>
                </a:lnTo>
                <a:lnTo>
                  <a:pt x="1740694" y="870346"/>
                </a:lnTo>
                <a:lnTo>
                  <a:pt x="0" y="870346"/>
                </a:lnTo>
                <a:lnTo>
                  <a:pt x="435173" y="43517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5000">
                <a:srgbClr val="003399"/>
              </a:gs>
              <a:gs pos="100000">
                <a:srgbClr val="0099CC"/>
              </a:gs>
            </a:gsLst>
            <a:lin ang="16200000" scaled="0"/>
          </a:gradFill>
          <a:scene3d>
            <a:camera prst="orthographicFront"/>
            <a:lightRig rig="threePt" dir="t"/>
          </a:scene3d>
          <a:sp3d>
            <a:bevelT w="825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9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17" name="Полилиния 16"/>
          <p:cNvSpPr/>
          <p:nvPr/>
        </p:nvSpPr>
        <p:spPr>
          <a:xfrm>
            <a:off x="5508104" y="980728"/>
            <a:ext cx="3492252" cy="1152128"/>
          </a:xfrm>
          <a:custGeom>
            <a:avLst/>
            <a:gdLst>
              <a:gd name="connsiteX0" fmla="*/ 0 w 2175867"/>
              <a:gd name="connsiteY0" fmla="*/ 0 h 870346"/>
              <a:gd name="connsiteX1" fmla="*/ 1740694 w 2175867"/>
              <a:gd name="connsiteY1" fmla="*/ 0 h 870346"/>
              <a:gd name="connsiteX2" fmla="*/ 2175867 w 2175867"/>
              <a:gd name="connsiteY2" fmla="*/ 435173 h 870346"/>
              <a:gd name="connsiteX3" fmla="*/ 1740694 w 2175867"/>
              <a:gd name="connsiteY3" fmla="*/ 870346 h 870346"/>
              <a:gd name="connsiteX4" fmla="*/ 0 w 2175867"/>
              <a:gd name="connsiteY4" fmla="*/ 870346 h 870346"/>
              <a:gd name="connsiteX5" fmla="*/ 435173 w 2175867"/>
              <a:gd name="connsiteY5" fmla="*/ 435173 h 870346"/>
              <a:gd name="connsiteX6" fmla="*/ 0 w 2175867"/>
              <a:gd name="connsiteY6" fmla="*/ 0 h 870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75867" h="870346">
                <a:moveTo>
                  <a:pt x="0" y="0"/>
                </a:moveTo>
                <a:lnTo>
                  <a:pt x="1740694" y="0"/>
                </a:lnTo>
                <a:lnTo>
                  <a:pt x="2175867" y="435173"/>
                </a:lnTo>
                <a:lnTo>
                  <a:pt x="1740694" y="870346"/>
                </a:lnTo>
                <a:lnTo>
                  <a:pt x="0" y="870346"/>
                </a:lnTo>
                <a:lnTo>
                  <a:pt x="435173" y="43517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5000">
                <a:srgbClr val="003399"/>
              </a:gs>
              <a:gs pos="100000">
                <a:srgbClr val="0099CC"/>
              </a:gs>
            </a:gsLst>
            <a:lin ang="16200000" scaled="0"/>
          </a:gradFill>
          <a:scene3d>
            <a:camera prst="orthographicFront"/>
            <a:lightRig rig="threePt" dir="t"/>
          </a:scene3d>
          <a:sp3d>
            <a:bevelT w="825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9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18" name="Rectangle 6"/>
          <p:cNvSpPr>
            <a:spLocks noChangeArrowheads="1"/>
          </p:cNvSpPr>
          <p:nvPr/>
        </p:nvSpPr>
        <p:spPr bwMode="auto">
          <a:xfrm>
            <a:off x="288488" y="1268760"/>
            <a:ext cx="8900408" cy="50783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b="1" dirty="0" smtClean="0">
                <a:solidFill>
                  <a:srgbClr val="3366CC"/>
                </a:solidFill>
                <a:latin typeface="Baskerville Old Face" panose="02020602080505020303" pitchFamily="18" charset="0"/>
              </a:rPr>
              <a:t>         </a:t>
            </a:r>
            <a:r>
              <a:rPr lang="ru-RU" altLang="ru-RU" b="1" dirty="0" smtClean="0">
                <a:solidFill>
                  <a:srgbClr val="3366CC"/>
                </a:solidFill>
                <a:latin typeface="Baskerville Old Face" panose="02020602080505020303" pitchFamily="18" charset="0"/>
              </a:rPr>
              <a:t>                             </a:t>
            </a:r>
            <a:r>
              <a:rPr lang="ru-RU" altLang="ru-RU" sz="27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Book Antiqua" panose="02040602050305030304" pitchFamily="18" charset="0"/>
              </a:rPr>
              <a:t>СВОБОДНОЕ  ПЕРЕДВИЖЕНИЕ</a:t>
            </a:r>
            <a:r>
              <a:rPr lang="ru-RU" altLang="ru-RU" sz="27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Book Antiqua" panose="02040602050305030304" pitchFamily="18" charset="0"/>
                <a:sym typeface="Wingdings" panose="05000000000000000000" pitchFamily="2" charset="2"/>
              </a:rPr>
              <a:t></a:t>
            </a:r>
            <a:endParaRPr lang="ru-RU" altLang="ru-RU" sz="27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Baskerville Old Face" panose="02020602080505020303" pitchFamily="18" charset="0"/>
            </a:endParaRPr>
          </a:p>
        </p:txBody>
      </p:sp>
      <p:sp>
        <p:nvSpPr>
          <p:cNvPr id="31" name="AutoShape 111"/>
          <p:cNvSpPr>
            <a:spLocks noChangeArrowheads="1"/>
          </p:cNvSpPr>
          <p:nvPr/>
        </p:nvSpPr>
        <p:spPr bwMode="auto">
          <a:xfrm>
            <a:off x="8575104" y="652462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3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32" name="AutoShape 111"/>
          <p:cNvSpPr>
            <a:spLocks noChangeArrowheads="1"/>
          </p:cNvSpPr>
          <p:nvPr/>
        </p:nvSpPr>
        <p:spPr bwMode="auto">
          <a:xfrm>
            <a:off x="8103782" y="652204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33" name="AutoShape 111"/>
          <p:cNvSpPr>
            <a:spLocks noChangeArrowheads="1"/>
          </p:cNvSpPr>
          <p:nvPr/>
        </p:nvSpPr>
        <p:spPr bwMode="auto">
          <a:xfrm>
            <a:off x="7629070" y="652276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AutoShape 28"/>
          <p:cNvSpPr>
            <a:spLocks noChangeArrowheads="1"/>
          </p:cNvSpPr>
          <p:nvPr/>
        </p:nvSpPr>
        <p:spPr bwMode="auto">
          <a:xfrm>
            <a:off x="136088" y="836712"/>
            <a:ext cx="8900408" cy="5904656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  <a:alpha val="86000"/>
            </a:schemeClr>
          </a:solidFill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lIns="91429" tIns="45714" rIns="91429" bIns="45714" anchor="ctr"/>
          <a:lstStyle/>
          <a:p>
            <a:pPr algn="ctr" defTabSz="914257"/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0" y="0"/>
            <a:ext cx="9144000" cy="765175"/>
          </a:xfrm>
          <a:prstGeom prst="rect">
            <a:avLst/>
          </a:prstGeom>
          <a:solidFill>
            <a:srgbClr val="006699"/>
          </a:solidFill>
          <a:scene3d>
            <a:camera prst="orthographicFront"/>
            <a:lightRig rig="threePt" dir="t"/>
          </a:scene3d>
          <a:sp3d>
            <a:bevelT w="825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b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ДОГОВОР О ЕАЭС: РАЗДЕЛ </a:t>
            </a:r>
            <a:r>
              <a:rPr lang="en-US" sz="1900" b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XVI</a:t>
            </a:r>
            <a:r>
              <a:rPr lang="ru-RU" sz="1900" b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«РЕГУЛИРОВАНИЕ ФР», СТ. 70 «ЦЕЛИ И ПРИНЦИПЫ РЕГУЛИРОВАНИЯ ФР»</a:t>
            </a: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xmlns="" val="3401343963"/>
              </p:ext>
            </p:extLst>
          </p:nvPr>
        </p:nvGraphicFramePr>
        <p:xfrm>
          <a:off x="769868" y="936836"/>
          <a:ext cx="7632848" cy="57044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AutoShape 111"/>
          <p:cNvSpPr>
            <a:spLocks noChangeArrowheads="1"/>
          </p:cNvSpPr>
          <p:nvPr/>
        </p:nvSpPr>
        <p:spPr bwMode="auto">
          <a:xfrm>
            <a:off x="8575104" y="652462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4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14" name="AutoShape 111"/>
          <p:cNvSpPr>
            <a:spLocks noChangeArrowheads="1"/>
          </p:cNvSpPr>
          <p:nvPr/>
        </p:nvSpPr>
        <p:spPr bwMode="auto">
          <a:xfrm>
            <a:off x="8103782" y="652204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15" name="AutoShape 111"/>
          <p:cNvSpPr>
            <a:spLocks noChangeArrowheads="1"/>
          </p:cNvSpPr>
          <p:nvPr/>
        </p:nvSpPr>
        <p:spPr bwMode="auto">
          <a:xfrm>
            <a:off x="7629070" y="652276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83677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AutoShape 28"/>
          <p:cNvSpPr>
            <a:spLocks noChangeArrowheads="1"/>
          </p:cNvSpPr>
          <p:nvPr/>
        </p:nvSpPr>
        <p:spPr bwMode="auto">
          <a:xfrm>
            <a:off x="136088" y="836712"/>
            <a:ext cx="8900408" cy="5904656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  <a:alpha val="86000"/>
            </a:schemeClr>
          </a:solidFill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lIns="91429" tIns="45714" rIns="91429" bIns="45714" anchor="ctr"/>
          <a:lstStyle/>
          <a:p>
            <a:pPr algn="ctr" defTabSz="914257"/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0" y="0"/>
            <a:ext cx="9144000" cy="765175"/>
          </a:xfrm>
          <a:prstGeom prst="rect">
            <a:avLst/>
          </a:prstGeom>
          <a:solidFill>
            <a:srgbClr val="006699"/>
          </a:solidFill>
          <a:scene3d>
            <a:camera prst="orthographicFront"/>
            <a:lightRig rig="threePt" dir="t"/>
          </a:scene3d>
          <a:sp3d>
            <a:bevelT w="825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b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ДОГОВОР О ЕАЭС: ПЕРЕХОДНЫЕ ПОЛОЖЕНИЯ В ОТНОШЕНИИ РАЗДЕЛА </a:t>
            </a:r>
            <a:r>
              <a:rPr lang="en-US" sz="1900" b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XVI</a:t>
            </a:r>
            <a:r>
              <a:rPr lang="ru-RU" sz="1900" b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«РЕГУЛИРОВАНИЕ ФР»</a:t>
            </a:r>
          </a:p>
        </p:txBody>
      </p:sp>
      <p:graphicFrame>
        <p:nvGraphicFramePr>
          <p:cNvPr id="20" name="Схема 19"/>
          <p:cNvGraphicFramePr/>
          <p:nvPr>
            <p:extLst>
              <p:ext uri="{D42A27DB-BD31-4B8C-83A1-F6EECF244321}">
                <p14:modId xmlns:p14="http://schemas.microsoft.com/office/powerpoint/2010/main" xmlns="" val="1064729044"/>
              </p:ext>
            </p:extLst>
          </p:nvPr>
        </p:nvGraphicFramePr>
        <p:xfrm>
          <a:off x="395536" y="2029295"/>
          <a:ext cx="8514308" cy="44953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Полилиния 11"/>
          <p:cNvSpPr/>
          <p:nvPr/>
        </p:nvSpPr>
        <p:spPr>
          <a:xfrm>
            <a:off x="2373580" y="1060918"/>
            <a:ext cx="4248472" cy="1368152"/>
          </a:xfrm>
          <a:custGeom>
            <a:avLst/>
            <a:gdLst>
              <a:gd name="connsiteX0" fmla="*/ 0 w 2175867"/>
              <a:gd name="connsiteY0" fmla="*/ 0 h 870346"/>
              <a:gd name="connsiteX1" fmla="*/ 1740694 w 2175867"/>
              <a:gd name="connsiteY1" fmla="*/ 0 h 870346"/>
              <a:gd name="connsiteX2" fmla="*/ 2175867 w 2175867"/>
              <a:gd name="connsiteY2" fmla="*/ 435173 h 870346"/>
              <a:gd name="connsiteX3" fmla="*/ 1740694 w 2175867"/>
              <a:gd name="connsiteY3" fmla="*/ 870346 h 870346"/>
              <a:gd name="connsiteX4" fmla="*/ 0 w 2175867"/>
              <a:gd name="connsiteY4" fmla="*/ 870346 h 870346"/>
              <a:gd name="connsiteX5" fmla="*/ 435173 w 2175867"/>
              <a:gd name="connsiteY5" fmla="*/ 435173 h 870346"/>
              <a:gd name="connsiteX6" fmla="*/ 0 w 2175867"/>
              <a:gd name="connsiteY6" fmla="*/ 0 h 870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75867" h="870346">
                <a:moveTo>
                  <a:pt x="0" y="0"/>
                </a:moveTo>
                <a:lnTo>
                  <a:pt x="1740694" y="0"/>
                </a:lnTo>
                <a:lnTo>
                  <a:pt x="2175867" y="435173"/>
                </a:lnTo>
                <a:lnTo>
                  <a:pt x="1740694" y="870346"/>
                </a:lnTo>
                <a:lnTo>
                  <a:pt x="0" y="870346"/>
                </a:lnTo>
                <a:lnTo>
                  <a:pt x="435173" y="43517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79596">
                <a:srgbClr val="0099CC"/>
              </a:gs>
              <a:gs pos="49000">
                <a:srgbClr val="003399"/>
              </a:gs>
              <a:gs pos="99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11183" tIns="25337" rIns="460510" bIns="25337" numCol="1" spcCol="1270" anchor="ctr" anchorCtr="0">
            <a:noAutofit/>
          </a:bodyPr>
          <a:lstStyle/>
          <a:p>
            <a:pPr algn="ctr"/>
            <a:r>
              <a:rPr lang="en-US" sz="2000" dirty="0" smtClean="0">
                <a:latin typeface="Book Antiqua" panose="02040602050305030304" pitchFamily="18" charset="0"/>
              </a:rPr>
              <a:t>  </a:t>
            </a:r>
            <a:r>
              <a:rPr lang="ru-RU" sz="19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СТАТЬЯ </a:t>
            </a:r>
            <a:r>
              <a:rPr lang="ru-RU" sz="1900" b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103</a:t>
            </a:r>
          </a:p>
          <a:p>
            <a:pPr lvl="0" algn="ctr"/>
            <a:r>
              <a:rPr lang="ru-RU" sz="1900" b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    </a:t>
            </a:r>
            <a:r>
              <a:rPr lang="ru-RU" sz="19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ПЕРЕХОДНЫЕ </a:t>
            </a:r>
            <a:r>
              <a:rPr lang="en-US" sz="19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             </a:t>
            </a:r>
            <a:endParaRPr lang="en-US" sz="19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  <a:p>
            <a:pPr lvl="0" algn="ctr"/>
            <a:r>
              <a:rPr lang="en-US" sz="1900" b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   </a:t>
            </a:r>
            <a:r>
              <a:rPr lang="ru-RU" sz="19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ПОЛОЖЕНИЯ</a:t>
            </a:r>
            <a:endParaRPr lang="ru-RU" sz="19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13" name="Rectangle 6"/>
          <p:cNvSpPr>
            <a:spLocks noChangeArrowheads="1"/>
          </p:cNvSpPr>
          <p:nvPr/>
        </p:nvSpPr>
        <p:spPr bwMode="auto">
          <a:xfrm>
            <a:off x="971600" y="2924944"/>
            <a:ext cx="648072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sz="3300" b="1" dirty="0" smtClean="0"/>
              <a:t>1 </a:t>
            </a:r>
            <a:endParaRPr lang="ru-RU" altLang="ru-RU" sz="3300" b="1" u="sng" dirty="0"/>
          </a:p>
        </p:txBody>
      </p:sp>
      <p:sp>
        <p:nvSpPr>
          <p:cNvPr id="14" name="Rectangle 6"/>
          <p:cNvSpPr>
            <a:spLocks noChangeArrowheads="1"/>
          </p:cNvSpPr>
          <p:nvPr/>
        </p:nvSpPr>
        <p:spPr bwMode="auto">
          <a:xfrm>
            <a:off x="1043608" y="4941168"/>
            <a:ext cx="432048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3300" b="1" dirty="0" smtClean="0"/>
              <a:t>2</a:t>
            </a:r>
            <a:r>
              <a:rPr lang="en-US" altLang="ru-RU" sz="3300" b="1" dirty="0" smtClean="0"/>
              <a:t> </a:t>
            </a:r>
            <a:endParaRPr lang="ru-RU" altLang="ru-RU" sz="3300" b="1" u="sng" dirty="0"/>
          </a:p>
        </p:txBody>
      </p:sp>
      <p:sp>
        <p:nvSpPr>
          <p:cNvPr id="21" name="AutoShape 111"/>
          <p:cNvSpPr>
            <a:spLocks noChangeArrowheads="1"/>
          </p:cNvSpPr>
          <p:nvPr/>
        </p:nvSpPr>
        <p:spPr bwMode="auto">
          <a:xfrm>
            <a:off x="8575104" y="652462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5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22" name="AutoShape 111"/>
          <p:cNvSpPr>
            <a:spLocks noChangeArrowheads="1"/>
          </p:cNvSpPr>
          <p:nvPr/>
        </p:nvSpPr>
        <p:spPr bwMode="auto">
          <a:xfrm>
            <a:off x="8103782" y="652204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23" name="AutoShape 111"/>
          <p:cNvSpPr>
            <a:spLocks noChangeArrowheads="1"/>
          </p:cNvSpPr>
          <p:nvPr/>
        </p:nvSpPr>
        <p:spPr bwMode="auto">
          <a:xfrm>
            <a:off x="7629070" y="652276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63278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AutoShape 28"/>
          <p:cNvSpPr>
            <a:spLocks noChangeArrowheads="1"/>
          </p:cNvSpPr>
          <p:nvPr/>
        </p:nvSpPr>
        <p:spPr bwMode="auto">
          <a:xfrm>
            <a:off x="136088" y="836712"/>
            <a:ext cx="8900408" cy="5904656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  <a:alpha val="86000"/>
            </a:schemeClr>
          </a:solidFill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lIns="91429" tIns="45714" rIns="91429" bIns="45714" anchor="ctr"/>
          <a:lstStyle/>
          <a:p>
            <a:pPr algn="ctr" defTabSz="914257"/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0" y="0"/>
            <a:ext cx="9144000" cy="765175"/>
          </a:xfrm>
          <a:prstGeom prst="rect">
            <a:avLst/>
          </a:prstGeom>
          <a:solidFill>
            <a:srgbClr val="006699"/>
          </a:solidFill>
          <a:scene3d>
            <a:camera prst="orthographicFront"/>
            <a:lightRig rig="threePt" dir="t"/>
          </a:scene3d>
          <a:sp3d>
            <a:bevelT w="825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700" dirty="0" smtClean="0">
              <a:solidFill>
                <a:prstClr val="white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b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ДОГОВОР О ЕАЭС: ПРИЛОЖЕНИЕ 17 «ПРОТОКОЛ ПО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b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ФИНАНСОВЫМ УСЛУГАМ»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900" dirty="0">
              <a:solidFill>
                <a:prstClr val="white"/>
              </a:solidFill>
              <a:latin typeface="Book Antiqua" panose="0204060205030503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xmlns="" val="667326819"/>
              </p:ext>
            </p:extLst>
          </p:nvPr>
        </p:nvGraphicFramePr>
        <p:xfrm>
          <a:off x="467544" y="886768"/>
          <a:ext cx="8352928" cy="5854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3" name="Прямая соединительная линия 2"/>
          <p:cNvCxnSpPr/>
          <p:nvPr/>
        </p:nvCxnSpPr>
        <p:spPr>
          <a:xfrm>
            <a:off x="2195736" y="1628800"/>
            <a:ext cx="5040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 flipV="1">
            <a:off x="4427984" y="1626652"/>
            <a:ext cx="432048" cy="21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6588224" y="1626652"/>
            <a:ext cx="504056" cy="21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AutoShape 111"/>
          <p:cNvSpPr>
            <a:spLocks noChangeArrowheads="1"/>
          </p:cNvSpPr>
          <p:nvPr/>
        </p:nvSpPr>
        <p:spPr bwMode="auto">
          <a:xfrm>
            <a:off x="8575104" y="652462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6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19" name="AutoShape 111"/>
          <p:cNvSpPr>
            <a:spLocks noChangeArrowheads="1"/>
          </p:cNvSpPr>
          <p:nvPr/>
        </p:nvSpPr>
        <p:spPr bwMode="auto">
          <a:xfrm>
            <a:off x="8103782" y="652204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20" name="AutoShape 111"/>
          <p:cNvSpPr>
            <a:spLocks noChangeArrowheads="1"/>
          </p:cNvSpPr>
          <p:nvPr/>
        </p:nvSpPr>
        <p:spPr bwMode="auto">
          <a:xfrm>
            <a:off x="7629070" y="652276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6863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AutoShape 28"/>
          <p:cNvSpPr>
            <a:spLocks noChangeArrowheads="1"/>
          </p:cNvSpPr>
          <p:nvPr/>
        </p:nvSpPr>
        <p:spPr bwMode="auto">
          <a:xfrm>
            <a:off x="171571" y="836712"/>
            <a:ext cx="8900408" cy="5904656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  <a:alpha val="86000"/>
            </a:schemeClr>
          </a:solidFill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lIns="91429" tIns="45714" rIns="91429" bIns="45714" anchor="ctr"/>
          <a:lstStyle/>
          <a:p>
            <a:pPr algn="ctr" defTabSz="914257"/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0" y="0"/>
            <a:ext cx="9144000" cy="765175"/>
          </a:xfrm>
          <a:prstGeom prst="rect">
            <a:avLst/>
          </a:prstGeom>
          <a:solidFill>
            <a:srgbClr val="006699"/>
          </a:solidFill>
          <a:scene3d>
            <a:camera prst="orthographicFront"/>
            <a:lightRig rig="threePt" dir="t"/>
          </a:scene3d>
          <a:sp3d>
            <a:bevelT w="825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b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СОГЛАШЕНИЕ О ТРЕБОВАНИЯХ К ОСУЩЕСТВЛЕНИЮ ДЕЯТЕЛЬНОСТИ НА ФИНАНСОВЫХ РЫНКАХ</a:t>
            </a: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xmlns="" val="2171747582"/>
              </p:ext>
            </p:extLst>
          </p:nvPr>
        </p:nvGraphicFramePr>
        <p:xfrm>
          <a:off x="237228" y="692696"/>
          <a:ext cx="8151196" cy="6021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3" name="Прямая со стрелкой 2"/>
          <p:cNvCxnSpPr/>
          <p:nvPr/>
        </p:nvCxnSpPr>
        <p:spPr>
          <a:xfrm flipV="1">
            <a:off x="3203848" y="2420888"/>
            <a:ext cx="720080" cy="72008"/>
          </a:xfrm>
          <a:prstGeom prst="straightConnector1">
            <a:avLst/>
          </a:prstGeom>
          <a:ln w="2222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>
            <a:off x="3275856" y="2708920"/>
            <a:ext cx="2088232" cy="216024"/>
          </a:xfrm>
          <a:prstGeom prst="straightConnector1">
            <a:avLst/>
          </a:prstGeom>
          <a:ln w="2222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>
            <a:off x="2987824" y="3717032"/>
            <a:ext cx="1584176" cy="1224136"/>
          </a:xfrm>
          <a:prstGeom prst="straightConnector1">
            <a:avLst/>
          </a:prstGeom>
          <a:ln w="2222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>
            <a:off x="2844128" y="3892276"/>
            <a:ext cx="0" cy="180020"/>
          </a:xfrm>
          <a:prstGeom prst="straightConnector1">
            <a:avLst/>
          </a:prstGeom>
          <a:ln w="2222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AutoShape 111"/>
          <p:cNvSpPr>
            <a:spLocks noChangeArrowheads="1"/>
          </p:cNvSpPr>
          <p:nvPr/>
        </p:nvSpPr>
        <p:spPr bwMode="auto">
          <a:xfrm>
            <a:off x="8575104" y="652462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7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19" name="AutoShape 111"/>
          <p:cNvSpPr>
            <a:spLocks noChangeArrowheads="1"/>
          </p:cNvSpPr>
          <p:nvPr/>
        </p:nvSpPr>
        <p:spPr bwMode="auto">
          <a:xfrm>
            <a:off x="8103782" y="652204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20" name="AutoShape 111"/>
          <p:cNvSpPr>
            <a:spLocks noChangeArrowheads="1"/>
          </p:cNvSpPr>
          <p:nvPr/>
        </p:nvSpPr>
        <p:spPr bwMode="auto">
          <a:xfrm>
            <a:off x="7629070" y="652276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64241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Прямая со стрелкой 17"/>
          <p:cNvCxnSpPr/>
          <p:nvPr/>
        </p:nvCxnSpPr>
        <p:spPr>
          <a:xfrm>
            <a:off x="2375756" y="3212976"/>
            <a:ext cx="3420380" cy="1152128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AutoShape 28"/>
          <p:cNvSpPr>
            <a:spLocks noChangeArrowheads="1"/>
          </p:cNvSpPr>
          <p:nvPr/>
        </p:nvSpPr>
        <p:spPr bwMode="auto">
          <a:xfrm>
            <a:off x="188840" y="1268760"/>
            <a:ext cx="8900408" cy="5328592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  <a:alpha val="86000"/>
            </a:schemeClr>
          </a:solidFill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lIns="91429" tIns="45714" rIns="91429" bIns="45714" anchor="ctr"/>
          <a:lstStyle/>
          <a:p>
            <a:pPr algn="ctr" defTabSz="914257"/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0" y="0"/>
            <a:ext cx="9144000" cy="1124744"/>
          </a:xfrm>
          <a:prstGeom prst="rect">
            <a:avLst/>
          </a:prstGeom>
          <a:solidFill>
            <a:srgbClr val="006699"/>
          </a:solidFill>
          <a:scene3d>
            <a:camera prst="orthographicFront"/>
            <a:lightRig rig="threePt" dir="t"/>
          </a:scene3d>
          <a:sp3d>
            <a:bevelT w="825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700" b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СОГЛАШЕНИЕ ОБ ОБМЕНЕ ИНФОРМАЦИЕЙ В Т.Ч. КОНФИДЕНЦИАЛЬНОЙ, В ФИНАНСОВОЙ СФЕРЕ В ЦЕЛЯХ СОЗДАНИЯ УСЛОВИЙ НА ФИНАНСОВЫХ РЫНКАХ ДЛЯ ОБЕСПЕЧЕНИЯ СВОБОДНОГО ДВИЖЕНИЯ КАПИТАЛА</a:t>
            </a: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xmlns="" val="1718777178"/>
              </p:ext>
            </p:extLst>
          </p:nvPr>
        </p:nvGraphicFramePr>
        <p:xfrm>
          <a:off x="467544" y="1484784"/>
          <a:ext cx="8496944" cy="50398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8" name="Прямая со стрелкой 7"/>
          <p:cNvCxnSpPr/>
          <p:nvPr/>
        </p:nvCxnSpPr>
        <p:spPr>
          <a:xfrm flipV="1">
            <a:off x="2843808" y="2492896"/>
            <a:ext cx="648072" cy="288032"/>
          </a:xfrm>
          <a:prstGeom prst="straightConnector1">
            <a:avLst/>
          </a:prstGeom>
          <a:ln w="2222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9"/>
          <p:cNvCxnSpPr/>
          <p:nvPr/>
        </p:nvCxnSpPr>
        <p:spPr>
          <a:xfrm flipV="1">
            <a:off x="2843808" y="2780928"/>
            <a:ext cx="2736304" cy="144016"/>
          </a:xfrm>
          <a:prstGeom prst="straightConnector1">
            <a:avLst/>
          </a:prstGeom>
          <a:ln w="2222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/>
          <p:nvPr/>
        </p:nvCxnSpPr>
        <p:spPr>
          <a:xfrm>
            <a:off x="2699792" y="2996952"/>
            <a:ext cx="3168352" cy="468052"/>
          </a:xfrm>
          <a:prstGeom prst="straightConnector1">
            <a:avLst/>
          </a:prstGeom>
          <a:ln w="2222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 flipH="1">
            <a:off x="2080426" y="3419586"/>
            <a:ext cx="180020" cy="351039"/>
          </a:xfrm>
          <a:prstGeom prst="straightConnector1">
            <a:avLst/>
          </a:prstGeom>
          <a:ln w="2222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/>
          <p:nvPr/>
        </p:nvCxnSpPr>
        <p:spPr>
          <a:xfrm>
            <a:off x="2375756" y="3284984"/>
            <a:ext cx="792088" cy="1512168"/>
          </a:xfrm>
          <a:prstGeom prst="straightConnector1">
            <a:avLst/>
          </a:prstGeom>
          <a:ln w="2222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AutoShape 111"/>
          <p:cNvSpPr>
            <a:spLocks noChangeArrowheads="1"/>
          </p:cNvSpPr>
          <p:nvPr/>
        </p:nvSpPr>
        <p:spPr bwMode="auto">
          <a:xfrm>
            <a:off x="8575104" y="652462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8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23" name="AutoShape 111"/>
          <p:cNvSpPr>
            <a:spLocks noChangeArrowheads="1"/>
          </p:cNvSpPr>
          <p:nvPr/>
        </p:nvSpPr>
        <p:spPr bwMode="auto">
          <a:xfrm>
            <a:off x="8103782" y="652204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24" name="AutoShape 111"/>
          <p:cNvSpPr>
            <a:spLocks noChangeArrowheads="1"/>
          </p:cNvSpPr>
          <p:nvPr/>
        </p:nvSpPr>
        <p:spPr bwMode="auto">
          <a:xfrm>
            <a:off x="7629070" y="652276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99352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84932" y="799058"/>
            <a:ext cx="2423572" cy="1673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sp>
        <p:nvSpPr>
          <p:cNvPr id="49" name="AutoShape 28"/>
          <p:cNvSpPr>
            <a:spLocks noChangeArrowheads="1"/>
          </p:cNvSpPr>
          <p:nvPr/>
        </p:nvSpPr>
        <p:spPr bwMode="auto">
          <a:xfrm>
            <a:off x="121796" y="924540"/>
            <a:ext cx="8900408" cy="5782591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  <a:alpha val="28000"/>
            </a:schemeClr>
          </a:solidFill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lIns="91429" tIns="45714" rIns="91429" bIns="45714" anchor="ctr"/>
          <a:lstStyle/>
          <a:p>
            <a:pPr algn="ctr" defTabSz="914257"/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0" y="0"/>
            <a:ext cx="9144000" cy="764704"/>
          </a:xfrm>
          <a:prstGeom prst="rect">
            <a:avLst/>
          </a:prstGeom>
          <a:solidFill>
            <a:srgbClr val="006699"/>
          </a:solidFill>
          <a:scene3d>
            <a:camera prst="orthographicFront"/>
            <a:lightRig rig="threePt" dir="t"/>
          </a:scene3d>
          <a:sp3d>
            <a:bevelT w="825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700" b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КОНСУЛЬТАТИВНЫЙ КОМИТЕТ ПО ФИНАНСОВЫМ РЫНКАМ  </a:t>
            </a:r>
          </a:p>
        </p:txBody>
      </p:sp>
      <p:cxnSp>
        <p:nvCxnSpPr>
          <p:cNvPr id="32" name="Прямая соединительная линия 31"/>
          <p:cNvCxnSpPr>
            <a:stCxn id="20" idx="3"/>
          </p:cNvCxnSpPr>
          <p:nvPr/>
        </p:nvCxnSpPr>
        <p:spPr>
          <a:xfrm flipV="1">
            <a:off x="6686538" y="1635621"/>
            <a:ext cx="2190762" cy="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AutoShape 4" descr="Светлый диагональный 2"/>
          <p:cNvSpPr>
            <a:spLocks noChangeArrowheads="1"/>
          </p:cNvSpPr>
          <p:nvPr/>
        </p:nvSpPr>
        <p:spPr bwMode="auto">
          <a:xfrm>
            <a:off x="2162574" y="1117997"/>
            <a:ext cx="4523964" cy="1035249"/>
          </a:xfrm>
          <a:prstGeom prst="roundRect">
            <a:avLst>
              <a:gd name="adj" fmla="val 16667"/>
            </a:avLst>
          </a:prstGeom>
          <a:solidFill>
            <a:srgbClr val="0070C0">
              <a:alpha val="85000"/>
            </a:srgbClr>
          </a:solidFill>
          <a:ln>
            <a:headEnd/>
            <a:tailEnd/>
          </a:ln>
          <a:ex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91429" tIns="45714" rIns="91429" bIns="45714" anchor="ctr"/>
          <a:lstStyle/>
          <a:p>
            <a:pPr algn="ctr" defTabSz="914257"/>
            <a:r>
              <a:rPr lang="ru-RU" sz="1900" b="1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accent1">
                    <a:satMod val="200000"/>
                    <a:tint val="3000"/>
                  </a:schemeClr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Консультативный комитет </a:t>
            </a:r>
            <a:br>
              <a:rPr lang="ru-RU" sz="1900" b="1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accent1">
                    <a:satMod val="200000"/>
                    <a:tint val="3000"/>
                  </a:schemeClr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</a:br>
            <a:r>
              <a:rPr lang="ru-RU" sz="1900" b="1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accent1">
                    <a:satMod val="200000"/>
                    <a:tint val="3000"/>
                  </a:schemeClr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по финансовым рынкам</a:t>
            </a:r>
            <a:endParaRPr lang="ru-RU" sz="1900" b="1" dirty="0">
              <a:ln w="900" cmpd="sng">
                <a:solidFill>
                  <a:schemeClr val="accent1">
                    <a:satMod val="190000"/>
                    <a:alpha val="55000"/>
                  </a:schemeClr>
                </a:solidFill>
                <a:prstDash val="solid"/>
              </a:ln>
              <a:solidFill>
                <a:schemeClr val="accent1">
                  <a:satMod val="200000"/>
                  <a:tint val="3000"/>
                </a:schemeClr>
              </a:solidFill>
              <a:effectLst>
                <a:innerShdw blurRad="101600" dist="76200" dir="5400000">
                  <a:schemeClr val="accent1">
                    <a:satMod val="190000"/>
                    <a:tint val="100000"/>
                    <a:alpha val="74000"/>
                  </a:schemeClr>
                </a:innerShdw>
              </a:effectLst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568991" y="2461614"/>
            <a:ext cx="8124825" cy="2920612"/>
            <a:chOff x="652320" y="3164331"/>
            <a:chExt cx="5960160" cy="2390408"/>
          </a:xfrm>
        </p:grpSpPr>
        <p:sp>
          <p:nvSpPr>
            <p:cNvPr id="15" name="AutoShape 9"/>
            <p:cNvSpPr>
              <a:spLocks noChangeArrowheads="1"/>
            </p:cNvSpPr>
            <p:nvPr/>
          </p:nvSpPr>
          <p:spPr bwMode="auto">
            <a:xfrm>
              <a:off x="4717440" y="4006745"/>
              <a:ext cx="1890720" cy="701653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85000"/>
                <a:alpha val="20000"/>
              </a:schemeClr>
            </a:solidFill>
            <a:ln w="2857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91429" tIns="45714" rIns="91429" bIns="45714" anchor="ctr"/>
            <a:lstStyle/>
            <a:p>
              <a:pPr algn="ctr" defTabSz="914257"/>
              <a:r>
                <a:rPr lang="ru-RU" sz="1500" b="1" dirty="0">
                  <a:ln w="900" cmpd="sng">
                    <a:solidFill>
                      <a:schemeClr val="accent1">
                        <a:satMod val="190000"/>
                        <a:alpha val="55000"/>
                      </a:schemeClr>
                    </a:solidFill>
                    <a:prstDash val="solid"/>
                  </a:ln>
                  <a:solidFill>
                    <a:schemeClr val="bg1"/>
                  </a:solidFill>
                  <a:effectLst>
                    <a:innerShdw blurRad="101600" dist="76200" dir="5400000">
                      <a:schemeClr val="accent1">
                        <a:satMod val="190000"/>
                        <a:tint val="100000"/>
                        <a:alpha val="74000"/>
                      </a:schemeClr>
                    </a:innerShdw>
                  </a:effectLst>
                  <a:latin typeface="+mn-lt"/>
                  <a:cs typeface="+mn-cs"/>
                </a:rPr>
                <a:t>Уполномоченные государственные органы по финансовым рынкам Республики Казахстан</a:t>
              </a:r>
            </a:p>
          </p:txBody>
        </p:sp>
        <p:sp>
          <p:nvSpPr>
            <p:cNvPr id="16" name="AutoShape 13"/>
            <p:cNvSpPr>
              <a:spLocks noChangeArrowheads="1"/>
            </p:cNvSpPr>
            <p:nvPr/>
          </p:nvSpPr>
          <p:spPr bwMode="auto">
            <a:xfrm>
              <a:off x="4717440" y="4821930"/>
              <a:ext cx="1895040" cy="732809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85000"/>
                <a:alpha val="20000"/>
              </a:schemeClr>
            </a:solidFill>
            <a:ln w="2857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lIns="91429" tIns="45714" rIns="91429" bIns="45714" anchor="ctr"/>
            <a:lstStyle/>
            <a:p>
              <a:pPr algn="ctr" defTabSz="914257"/>
              <a:r>
                <a:rPr lang="ru-RU" sz="1500" b="1" dirty="0">
                  <a:ln w="900" cmpd="sng">
                    <a:solidFill>
                      <a:schemeClr val="accent1">
                        <a:satMod val="190000"/>
                        <a:alpha val="55000"/>
                      </a:schemeClr>
                    </a:solidFill>
                    <a:prstDash val="solid"/>
                  </a:ln>
                  <a:solidFill>
                    <a:schemeClr val="bg1"/>
                  </a:solidFill>
                  <a:effectLst>
                    <a:innerShdw blurRad="101600" dist="76200" dir="5400000">
                      <a:schemeClr val="accent1">
                        <a:satMod val="190000"/>
                        <a:tint val="100000"/>
                        <a:alpha val="74000"/>
                      </a:schemeClr>
                    </a:innerShdw>
                  </a:effectLst>
                  <a:latin typeface="+mn-lt"/>
                  <a:cs typeface="+mn-cs"/>
                </a:rPr>
                <a:t>Уполномоченные государственные органы по финансовым рынкам Российской Федерации</a:t>
              </a:r>
            </a:p>
          </p:txBody>
        </p:sp>
        <p:sp>
          <p:nvSpPr>
            <p:cNvPr id="17" name="AutoShape 28"/>
            <p:cNvSpPr>
              <a:spLocks noChangeArrowheads="1"/>
            </p:cNvSpPr>
            <p:nvPr/>
          </p:nvSpPr>
          <p:spPr bwMode="auto">
            <a:xfrm>
              <a:off x="652320" y="3164331"/>
              <a:ext cx="1566720" cy="2390407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85000"/>
                <a:alpha val="20000"/>
              </a:schemeClr>
            </a:solidFill>
            <a:ln w="2857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lIns="91429" tIns="45714" rIns="91429" bIns="45714" anchor="ctr"/>
            <a:lstStyle/>
            <a:p>
              <a:pPr algn="ctr" defTabSz="914257"/>
              <a:r>
                <a:rPr lang="ru-RU" sz="1900" b="1" dirty="0">
                  <a:ln w="900" cmpd="sng">
                    <a:solidFill>
                      <a:schemeClr val="accent1">
                        <a:satMod val="190000"/>
                        <a:alpha val="55000"/>
                      </a:schemeClr>
                    </a:solidFill>
                    <a:prstDash val="solid"/>
                  </a:ln>
                  <a:solidFill>
                    <a:schemeClr val="bg1"/>
                  </a:solidFill>
                  <a:effectLst>
                    <a:innerShdw blurRad="101600" dist="76200" dir="5400000">
                      <a:schemeClr val="accent1">
                        <a:satMod val="190000"/>
                        <a:tint val="100000"/>
                        <a:alpha val="74000"/>
                      </a:schemeClr>
                    </a:innerShdw>
                  </a:effectLst>
                  <a:latin typeface="+mn-lt"/>
                  <a:cs typeface="+mn-cs"/>
                </a:rPr>
                <a:t>Евразийская </a:t>
              </a:r>
            </a:p>
            <a:p>
              <a:pPr algn="ctr" defTabSz="914257"/>
              <a:r>
                <a:rPr lang="ru-RU" sz="1900" b="1" dirty="0">
                  <a:ln w="900" cmpd="sng">
                    <a:solidFill>
                      <a:schemeClr val="accent1">
                        <a:satMod val="190000"/>
                        <a:alpha val="55000"/>
                      </a:schemeClr>
                    </a:solidFill>
                    <a:prstDash val="solid"/>
                  </a:ln>
                  <a:solidFill>
                    <a:schemeClr val="bg1"/>
                  </a:solidFill>
                  <a:effectLst>
                    <a:innerShdw blurRad="101600" dist="76200" dir="5400000">
                      <a:schemeClr val="accent1">
                        <a:satMod val="190000"/>
                        <a:tint val="100000"/>
                        <a:alpha val="74000"/>
                      </a:schemeClr>
                    </a:innerShdw>
                  </a:effectLst>
                  <a:latin typeface="+mn-lt"/>
                  <a:cs typeface="+mn-cs"/>
                </a:rPr>
                <a:t>экономическая </a:t>
              </a:r>
            </a:p>
            <a:p>
              <a:pPr algn="ctr" defTabSz="914257"/>
              <a:r>
                <a:rPr lang="ru-RU" sz="1900" b="1" dirty="0">
                  <a:ln w="900" cmpd="sng">
                    <a:solidFill>
                      <a:schemeClr val="accent1">
                        <a:satMod val="190000"/>
                        <a:alpha val="55000"/>
                      </a:schemeClr>
                    </a:solidFill>
                    <a:prstDash val="solid"/>
                  </a:ln>
                  <a:solidFill>
                    <a:schemeClr val="bg1"/>
                  </a:solidFill>
                  <a:effectLst>
                    <a:innerShdw blurRad="101600" dist="76200" dir="5400000">
                      <a:schemeClr val="accent1">
                        <a:satMod val="190000"/>
                        <a:tint val="100000"/>
                        <a:alpha val="74000"/>
                      </a:schemeClr>
                    </a:innerShdw>
                  </a:effectLst>
                  <a:latin typeface="+mn-lt"/>
                  <a:cs typeface="+mn-cs"/>
                </a:rPr>
                <a:t>комиссия</a:t>
              </a:r>
            </a:p>
          </p:txBody>
        </p:sp>
      </p:grpSp>
      <p:sp>
        <p:nvSpPr>
          <p:cNvPr id="19" name="AutoShape 9"/>
          <p:cNvSpPr>
            <a:spLocks noChangeArrowheads="1"/>
          </p:cNvSpPr>
          <p:nvPr/>
        </p:nvSpPr>
        <p:spPr bwMode="auto">
          <a:xfrm>
            <a:off x="6132418" y="2480069"/>
            <a:ext cx="2515512" cy="892024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  <a:alpha val="20000"/>
            </a:schemeClr>
          </a:solidFill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91429" tIns="45714" rIns="91429" bIns="45714" anchor="ctr"/>
          <a:lstStyle/>
          <a:p>
            <a:pPr algn="ctr" defTabSz="914257"/>
            <a:r>
              <a:rPr lang="ru-RU" sz="1500" b="1" dirty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  <a:latin typeface="+mn-lt"/>
                <a:cs typeface="+mn-cs"/>
              </a:rPr>
              <a:t>Уполномоченные государственные органы по финансовым рынкам Республики Беларусь</a:t>
            </a:r>
          </a:p>
        </p:txBody>
      </p:sp>
      <p:sp>
        <p:nvSpPr>
          <p:cNvPr id="31" name="AutoShape 13"/>
          <p:cNvSpPr>
            <a:spLocks noChangeArrowheads="1"/>
          </p:cNvSpPr>
          <p:nvPr/>
        </p:nvSpPr>
        <p:spPr bwMode="auto">
          <a:xfrm>
            <a:off x="2897777" y="5648927"/>
            <a:ext cx="2970367" cy="89535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  <a:alpha val="20000"/>
            </a:schemeClr>
          </a:solidFill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91429" tIns="45714" rIns="91429" bIns="45714" anchor="ctr"/>
          <a:lstStyle/>
          <a:p>
            <a:pPr algn="ctr" defTabSz="914257"/>
            <a:r>
              <a:rPr lang="ru-RU" sz="1500" b="1" dirty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  <a:latin typeface="+mn-lt"/>
                <a:cs typeface="+mn-cs"/>
              </a:rPr>
              <a:t>Бизнес-сообщества в сфере финансовых рынков (в форме профессиональных ассоциаций, союзов и прочее)</a:t>
            </a:r>
          </a:p>
        </p:txBody>
      </p:sp>
      <p:cxnSp>
        <p:nvCxnSpPr>
          <p:cNvPr id="30" name="Прямая со стрелкой 29"/>
          <p:cNvCxnSpPr/>
          <p:nvPr/>
        </p:nvCxnSpPr>
        <p:spPr>
          <a:xfrm flipV="1">
            <a:off x="4391411" y="4348162"/>
            <a:ext cx="1" cy="1284800"/>
          </a:xfrm>
          <a:prstGeom prst="straightConnector1">
            <a:avLst/>
          </a:prstGeom>
          <a:ln w="44450">
            <a:solidFill>
              <a:srgbClr val="0070C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Двойная стрелка влево/вверх 20"/>
          <p:cNvSpPr/>
          <p:nvPr/>
        </p:nvSpPr>
        <p:spPr>
          <a:xfrm>
            <a:off x="5959515" y="5436627"/>
            <a:ext cx="1368146" cy="861437"/>
          </a:xfrm>
          <a:prstGeom prst="leftUpArrow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8877300" y="1635622"/>
            <a:ext cx="27420" cy="3291311"/>
          </a:xfrm>
          <a:prstGeom prst="line">
            <a:avLst/>
          </a:prstGeom>
          <a:ln w="44450">
            <a:solidFill>
              <a:srgbClr val="0070C0"/>
            </a:solidFill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/>
          <p:nvPr/>
        </p:nvCxnSpPr>
        <p:spPr>
          <a:xfrm>
            <a:off x="8675350" y="3896929"/>
            <a:ext cx="229370" cy="0"/>
          </a:xfrm>
          <a:prstGeom prst="straightConnector1">
            <a:avLst/>
          </a:prstGeom>
          <a:ln w="38100">
            <a:solidFill>
              <a:srgbClr val="0070C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>
            <a:stCxn id="19" idx="3"/>
          </p:cNvCxnSpPr>
          <p:nvPr/>
        </p:nvCxnSpPr>
        <p:spPr>
          <a:xfrm>
            <a:off x="8647930" y="2926081"/>
            <a:ext cx="229370" cy="0"/>
          </a:xfrm>
          <a:prstGeom prst="straightConnector1">
            <a:avLst/>
          </a:prstGeom>
          <a:ln w="38100">
            <a:solidFill>
              <a:srgbClr val="0070C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/>
          <p:nvPr/>
        </p:nvCxnSpPr>
        <p:spPr>
          <a:xfrm>
            <a:off x="8705850" y="4945444"/>
            <a:ext cx="229370" cy="0"/>
          </a:xfrm>
          <a:prstGeom prst="straightConnector1">
            <a:avLst/>
          </a:prstGeom>
          <a:ln w="38100">
            <a:solidFill>
              <a:srgbClr val="0070C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AutoShape 9"/>
          <p:cNvSpPr>
            <a:spLocks noChangeArrowheads="1"/>
          </p:cNvSpPr>
          <p:nvPr/>
        </p:nvSpPr>
        <p:spPr bwMode="auto">
          <a:xfrm>
            <a:off x="3027643" y="3458536"/>
            <a:ext cx="2515512" cy="892024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  <a:alpha val="20000"/>
            </a:schemeClr>
          </a:solidFill>
          <a:ln w="285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91429" tIns="45714" rIns="91429" bIns="45714" anchor="ctr"/>
          <a:lstStyle/>
          <a:p>
            <a:pPr algn="ctr" defTabSz="914257"/>
            <a:r>
              <a:rPr lang="ru-RU" sz="1500" b="1" dirty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  <a:latin typeface="+mn-lt"/>
                <a:cs typeface="+mn-cs"/>
              </a:rPr>
              <a:t>Рабочие группы из числа уполномоченных органов и бизнес-сообществ сторон</a:t>
            </a:r>
          </a:p>
        </p:txBody>
      </p:sp>
      <p:sp>
        <p:nvSpPr>
          <p:cNvPr id="42" name="Двойная стрелка вверх/вниз 41"/>
          <p:cNvSpPr/>
          <p:nvPr/>
        </p:nvSpPr>
        <p:spPr>
          <a:xfrm>
            <a:off x="3978640" y="2215638"/>
            <a:ext cx="825540" cy="1229687"/>
          </a:xfrm>
          <a:prstGeom prst="upDownArrow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3" name="Двойная стрелка влево/вверх 22"/>
          <p:cNvSpPr/>
          <p:nvPr/>
        </p:nvSpPr>
        <p:spPr>
          <a:xfrm rot="10800000">
            <a:off x="1294145" y="1411877"/>
            <a:ext cx="868218" cy="1008263"/>
          </a:xfrm>
          <a:prstGeom prst="leftUpArrow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5781675" y="3896929"/>
            <a:ext cx="350743" cy="0"/>
          </a:xfrm>
          <a:prstGeom prst="line">
            <a:avLst/>
          </a:prstGeom>
          <a:ln w="44450">
            <a:solidFill>
              <a:srgbClr val="0070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5781675" y="2926081"/>
            <a:ext cx="0" cy="2008471"/>
          </a:xfrm>
          <a:prstGeom prst="line">
            <a:avLst/>
          </a:prstGeom>
          <a:ln w="44450">
            <a:solidFill>
              <a:srgbClr val="0070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>
            <a:endCxn id="24" idx="3"/>
          </p:cNvCxnSpPr>
          <p:nvPr/>
        </p:nvCxnSpPr>
        <p:spPr>
          <a:xfrm flipH="1">
            <a:off x="5543155" y="3896929"/>
            <a:ext cx="238520" cy="7619"/>
          </a:xfrm>
          <a:prstGeom prst="straightConnector1">
            <a:avLst/>
          </a:prstGeom>
          <a:ln w="44450">
            <a:solidFill>
              <a:srgbClr val="0070C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5781675" y="4926933"/>
            <a:ext cx="350743" cy="0"/>
          </a:xfrm>
          <a:prstGeom prst="line">
            <a:avLst/>
          </a:prstGeom>
          <a:ln w="44450">
            <a:solidFill>
              <a:srgbClr val="3366C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>
            <a:endCxn id="19" idx="1"/>
          </p:cNvCxnSpPr>
          <p:nvPr/>
        </p:nvCxnSpPr>
        <p:spPr>
          <a:xfrm>
            <a:off x="5781675" y="2926081"/>
            <a:ext cx="350743" cy="0"/>
          </a:xfrm>
          <a:prstGeom prst="line">
            <a:avLst/>
          </a:prstGeom>
          <a:ln w="44450">
            <a:solidFill>
              <a:srgbClr val="006699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>
            <a:endCxn id="20" idx="3"/>
          </p:cNvCxnSpPr>
          <p:nvPr/>
        </p:nvCxnSpPr>
        <p:spPr>
          <a:xfrm flipH="1">
            <a:off x="6686538" y="1635622"/>
            <a:ext cx="2190762" cy="0"/>
          </a:xfrm>
          <a:prstGeom prst="straightConnector1">
            <a:avLst/>
          </a:prstGeom>
          <a:ln w="44450">
            <a:solidFill>
              <a:srgbClr val="0070C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AutoShape 111"/>
          <p:cNvSpPr>
            <a:spLocks noChangeArrowheads="1"/>
          </p:cNvSpPr>
          <p:nvPr/>
        </p:nvSpPr>
        <p:spPr bwMode="auto">
          <a:xfrm>
            <a:off x="8575104" y="652462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9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38" name="AutoShape 111"/>
          <p:cNvSpPr>
            <a:spLocks noChangeArrowheads="1"/>
          </p:cNvSpPr>
          <p:nvPr/>
        </p:nvSpPr>
        <p:spPr bwMode="auto">
          <a:xfrm>
            <a:off x="8103782" y="652204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  <p:sp>
        <p:nvSpPr>
          <p:cNvPr id="39" name="AutoShape 111"/>
          <p:cNvSpPr>
            <a:spLocks noChangeArrowheads="1"/>
          </p:cNvSpPr>
          <p:nvPr/>
        </p:nvSpPr>
        <p:spPr bwMode="auto">
          <a:xfrm>
            <a:off x="7629070" y="6522764"/>
            <a:ext cx="533400" cy="335236"/>
          </a:xfrm>
          <a:prstGeom prst="chevron">
            <a:avLst>
              <a:gd name="adj" fmla="val 35000"/>
            </a:avLst>
          </a:prstGeom>
          <a:solidFill>
            <a:srgbClr val="003399"/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  <a:extLst/>
        </p:spPr>
        <p:txBody>
          <a:bodyPr wrap="none" anchor="ctr"/>
          <a:lstStyle>
            <a:lvl1pPr algn="l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ts val="400"/>
              </a:spcBef>
              <a:buClr>
                <a:srgbClr val="8BA2B4"/>
              </a:buClr>
              <a:buSzPct val="70000"/>
              <a:buFont typeface="Wingdings" pitchFamily="2" charset="2"/>
              <a:buChar char="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  <a:latin typeface="Book Antiqua" panose="02040602050305030304" pitchFamily="18" charset="0"/>
              </a:rPr>
              <a:t> </a:t>
            </a:r>
            <a:endParaRPr lang="ru-RU" sz="1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82536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BKdph1okSRbNfYklpJU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514</TotalTime>
  <Words>1247</Words>
  <Application>Microsoft Office PowerPoint</Application>
  <PresentationFormat>Экран (4:3)</PresentationFormat>
  <Paragraphs>187</Paragraphs>
  <Slides>18</Slides>
  <Notes>18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19" baseType="lpstr">
      <vt:lpstr>Тема Offic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M Integration</dc:title>
  <dc:creator>tashenov</dc:creator>
  <cp:lastModifiedBy>Lenovo User</cp:lastModifiedBy>
  <cp:revision>217</cp:revision>
  <cp:lastPrinted>2014-08-22T06:13:10Z</cp:lastPrinted>
  <dcterms:modified xsi:type="dcterms:W3CDTF">2014-09-03T08:16:24Z</dcterms:modified>
</cp:coreProperties>
</file>